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notesSlides/notesSlide1.xml" ContentType="application/vnd.openxmlformats-officedocument.presentationml.notesSlide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60" r:id="rId4"/>
  </p:sldMasterIdLst>
  <p:notesMasterIdLst>
    <p:notesMasterId r:id="rId14"/>
  </p:notesMasterIdLst>
  <p:sldIdLst>
    <p:sldId id="256" r:id="rId5"/>
    <p:sldId id="258" r:id="rId6"/>
    <p:sldId id="267" r:id="rId7"/>
    <p:sldId id="259" r:id="rId8"/>
    <p:sldId id="263" r:id="rId9"/>
    <p:sldId id="265" r:id="rId10"/>
    <p:sldId id="268" r:id="rId11"/>
    <p:sldId id="260" r:id="rId12"/>
    <p:sldId id="271" r:id="rId13"/>
  </p:sldIdLst>
  <p:sldSz cx="12192000" cy="6858000"/>
  <p:notesSz cx="6858000" cy="9144000"/>
  <p:custDataLst>
    <p:tags r:id="rId1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46B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2C32DC77-3316-5A44-99F4-3731869D0700}" v="9988" dt="2023-01-20T04:56:21.044"/>
    <p1510:client id="{42F5ED7C-376A-42AF-A1F1-03769D62B665}" v="4" dt="2023-01-20T03:56:26.738"/>
    <p1510:client id="{65C04F6E-BB7B-4035-B3A4-46BDD55C3AE1}" v="1" dt="2023-01-20T01:18:03.033"/>
    <p1510:client id="{96EA9BD4-3EFF-4E6D-A49C-4906384E4AC3}" v="14" dt="2023-01-20T03:12:48.809"/>
    <p1510:client id="{C58FFC49-D1AF-4F92-BADF-CF9EAD4B3BCF}" v="5426" vWet="5428" dt="2023-01-20T04:36:11.249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10"/>
    <p:restoredTop sz="94694"/>
  </p:normalViewPr>
  <p:slideViewPr>
    <p:cSldViewPr snapToGrid="0">
      <p:cViewPr varScale="1">
        <p:scale>
          <a:sx n="117" d="100"/>
          <a:sy n="117" d="100"/>
        </p:scale>
        <p:origin x="264" y="16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theme" Target="theme/theme1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presProps" Target="presProps.xml"/><Relationship Id="rId20" Type="http://schemas.microsoft.com/office/2015/10/relationships/revisionInfo" Target="revisionInfo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tags" Target="tags/tag1.xml"/><Relationship Id="rId10" Type="http://schemas.openxmlformats.org/officeDocument/2006/relationships/slide" Target="slides/slide6.xml"/><Relationship Id="rId19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notesMaster" Target="notesMasters/notesMaster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165302C-3815-764C-93F1-F2B4709AFEA2}" type="datetimeFigureOut">
              <a:rPr lang="en-US" smtClean="0"/>
              <a:t>1/19/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A36E35A-278A-F340-9365-AA54B38194D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0463904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A36E35A-278A-F340-9365-AA54B38194D1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5861781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6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No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2">
            <a:extLst>
              <a:ext uri="{FF2B5EF4-FFF2-40B4-BE49-F238E27FC236}">
                <a16:creationId xmlns:a16="http://schemas.microsoft.com/office/drawing/2014/main" id="{BC8E2C0F-ECA0-4807-B00F-78E70D4F1B4C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0657942" y="313144"/>
            <a:ext cx="1229707" cy="1055281"/>
            <a:chOff x="874713" y="2133600"/>
            <a:chExt cx="12747625" cy="10939463"/>
          </a:xfrm>
          <a:solidFill>
            <a:schemeClr val="tx1"/>
          </a:solidFill>
        </p:grpSpPr>
        <p:sp>
          <p:nvSpPr>
            <p:cNvPr id="14" name="AutoShape 31">
              <a:extLst>
                <a:ext uri="{FF2B5EF4-FFF2-40B4-BE49-F238E27FC236}">
                  <a16:creationId xmlns:a16="http://schemas.microsoft.com/office/drawing/2014/main" id="{3A2C9544-B5F6-44D1-A739-F3B6866CD754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4100" y="2159000"/>
              <a:ext cx="1309688" cy="2006600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0" y="0"/>
                  </a:moveTo>
                  <a:lnTo>
                    <a:pt x="8788" y="0"/>
                  </a:lnTo>
                  <a:lnTo>
                    <a:pt x="8788" y="17159"/>
                  </a:lnTo>
                  <a:lnTo>
                    <a:pt x="21600" y="17159"/>
                  </a:lnTo>
                  <a:lnTo>
                    <a:pt x="21600" y="21600"/>
                  </a:lnTo>
                  <a:lnTo>
                    <a:pt x="0" y="21600"/>
                  </a:lnTo>
                  <a:cubicBezTo>
                    <a:pt x="0" y="21600"/>
                    <a:pt x="0" y="0"/>
                    <a:pt x="0" y="0"/>
                  </a:cubicBezTo>
                  <a:close/>
                  <a:moveTo>
                    <a:pt x="0" y="0"/>
                  </a:move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5" name="AutoShape 32">
              <a:extLst>
                <a:ext uri="{FF2B5EF4-FFF2-40B4-BE49-F238E27FC236}">
                  <a16:creationId xmlns:a16="http://schemas.microsoft.com/office/drawing/2014/main" id="{39C0AD25-3E15-4E5F-8632-934DF97B63BA}"/>
                </a:ext>
              </a:extLst>
            </p:cNvPr>
            <p:cNvSpPr>
              <a:spLocks/>
            </p:cNvSpPr>
            <p:nvPr/>
          </p:nvSpPr>
          <p:spPr bwMode="auto">
            <a:xfrm>
              <a:off x="2425700" y="2654300"/>
              <a:ext cx="1512888" cy="1538288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15108" y="8514"/>
                  </a:moveTo>
                  <a:cubicBezTo>
                    <a:pt x="14988" y="5794"/>
                    <a:pt x="13585" y="4375"/>
                    <a:pt x="11100" y="4375"/>
                  </a:cubicBezTo>
                  <a:cubicBezTo>
                    <a:pt x="8776" y="4375"/>
                    <a:pt x="7213" y="5873"/>
                    <a:pt x="6813" y="8514"/>
                  </a:cubicBezTo>
                  <a:cubicBezTo>
                    <a:pt x="6813" y="8514"/>
                    <a:pt x="15108" y="8514"/>
                    <a:pt x="15108" y="8514"/>
                  </a:cubicBezTo>
                  <a:close/>
                  <a:moveTo>
                    <a:pt x="0" y="11076"/>
                  </a:moveTo>
                  <a:lnTo>
                    <a:pt x="0" y="10761"/>
                  </a:lnTo>
                  <a:cubicBezTo>
                    <a:pt x="0" y="4178"/>
                    <a:pt x="4849" y="0"/>
                    <a:pt x="11100" y="0"/>
                  </a:cubicBezTo>
                  <a:cubicBezTo>
                    <a:pt x="16711" y="0"/>
                    <a:pt x="21600" y="3153"/>
                    <a:pt x="21600" y="10563"/>
                  </a:cubicBezTo>
                  <a:lnTo>
                    <a:pt x="21600" y="12337"/>
                  </a:lnTo>
                  <a:lnTo>
                    <a:pt x="6732" y="12337"/>
                  </a:lnTo>
                  <a:cubicBezTo>
                    <a:pt x="6933" y="15293"/>
                    <a:pt x="8616" y="17028"/>
                    <a:pt x="11421" y="17028"/>
                  </a:cubicBezTo>
                  <a:cubicBezTo>
                    <a:pt x="13906" y="17028"/>
                    <a:pt x="15028" y="15964"/>
                    <a:pt x="15308" y="14426"/>
                  </a:cubicBezTo>
                  <a:lnTo>
                    <a:pt x="21600" y="14426"/>
                  </a:lnTo>
                  <a:cubicBezTo>
                    <a:pt x="20919" y="18998"/>
                    <a:pt x="17312" y="21600"/>
                    <a:pt x="11181" y="21600"/>
                  </a:cubicBezTo>
                  <a:cubicBezTo>
                    <a:pt x="4729" y="21600"/>
                    <a:pt x="0" y="17737"/>
                    <a:pt x="0" y="11076"/>
                  </a:cubicBezTo>
                  <a:close/>
                  <a:moveTo>
                    <a:pt x="0" y="11076"/>
                  </a:move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6" name="AutoShape 33">
              <a:extLst>
                <a:ext uri="{FF2B5EF4-FFF2-40B4-BE49-F238E27FC236}">
                  <a16:creationId xmlns:a16="http://schemas.microsoft.com/office/drawing/2014/main" id="{D82991FA-1A0F-4FF4-A1EB-32AB6FEDCF98}"/>
                </a:ext>
              </a:extLst>
            </p:cNvPr>
            <p:cNvSpPr>
              <a:spLocks/>
            </p:cNvSpPr>
            <p:nvPr/>
          </p:nvSpPr>
          <p:spPr bwMode="auto">
            <a:xfrm>
              <a:off x="3962400" y="2387600"/>
              <a:ext cx="947738" cy="1808163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4090" y="15764"/>
                  </a:moveTo>
                  <a:lnTo>
                    <a:pt x="4090" y="7547"/>
                  </a:lnTo>
                  <a:lnTo>
                    <a:pt x="0" y="7547"/>
                  </a:lnTo>
                  <a:lnTo>
                    <a:pt x="0" y="3690"/>
                  </a:lnTo>
                  <a:lnTo>
                    <a:pt x="4090" y="3690"/>
                  </a:lnTo>
                  <a:lnTo>
                    <a:pt x="4090" y="0"/>
                  </a:lnTo>
                  <a:lnTo>
                    <a:pt x="14698" y="0"/>
                  </a:lnTo>
                  <a:lnTo>
                    <a:pt x="14698" y="3690"/>
                  </a:lnTo>
                  <a:lnTo>
                    <a:pt x="21472" y="3690"/>
                  </a:lnTo>
                  <a:lnTo>
                    <a:pt x="21472" y="7547"/>
                  </a:lnTo>
                  <a:lnTo>
                    <a:pt x="14698" y="7547"/>
                  </a:lnTo>
                  <a:lnTo>
                    <a:pt x="14698" y="15227"/>
                  </a:lnTo>
                  <a:cubicBezTo>
                    <a:pt x="14698" y="16569"/>
                    <a:pt x="15976" y="17173"/>
                    <a:pt x="18213" y="17173"/>
                  </a:cubicBezTo>
                  <a:cubicBezTo>
                    <a:pt x="19555" y="17173"/>
                    <a:pt x="20514" y="17072"/>
                    <a:pt x="21600" y="16871"/>
                  </a:cubicBezTo>
                  <a:lnTo>
                    <a:pt x="21600" y="21131"/>
                  </a:lnTo>
                  <a:cubicBezTo>
                    <a:pt x="20130" y="21332"/>
                    <a:pt x="18085" y="21600"/>
                    <a:pt x="15465" y="21600"/>
                  </a:cubicBezTo>
                  <a:cubicBezTo>
                    <a:pt x="8180" y="21600"/>
                    <a:pt x="4090" y="19688"/>
                    <a:pt x="4090" y="15764"/>
                  </a:cubicBezTo>
                  <a:close/>
                  <a:moveTo>
                    <a:pt x="4090" y="15764"/>
                  </a:move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7" name="AutoShape 34">
              <a:extLst>
                <a:ext uri="{FF2B5EF4-FFF2-40B4-BE49-F238E27FC236}">
                  <a16:creationId xmlns:a16="http://schemas.microsoft.com/office/drawing/2014/main" id="{B8E9BDF1-2AD5-41B9-A5FB-BF49EA7FCCDC}"/>
                </a:ext>
              </a:extLst>
            </p:cNvPr>
            <p:cNvSpPr>
              <a:spLocks/>
            </p:cNvSpPr>
            <p:nvPr/>
          </p:nvSpPr>
          <p:spPr bwMode="auto">
            <a:xfrm>
              <a:off x="5054600" y="2133600"/>
              <a:ext cx="512763" cy="800100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944" y="16598"/>
                  </a:moveTo>
                  <a:cubicBezTo>
                    <a:pt x="6374" y="15764"/>
                    <a:pt x="8852" y="13642"/>
                    <a:pt x="9442" y="11748"/>
                  </a:cubicBezTo>
                  <a:cubicBezTo>
                    <a:pt x="3423" y="11520"/>
                    <a:pt x="0" y="9322"/>
                    <a:pt x="0" y="5911"/>
                  </a:cubicBezTo>
                  <a:cubicBezTo>
                    <a:pt x="0" y="2197"/>
                    <a:pt x="4721" y="0"/>
                    <a:pt x="10387" y="0"/>
                  </a:cubicBezTo>
                  <a:cubicBezTo>
                    <a:pt x="16879" y="0"/>
                    <a:pt x="21600" y="2956"/>
                    <a:pt x="21600" y="7655"/>
                  </a:cubicBezTo>
                  <a:lnTo>
                    <a:pt x="21600" y="8186"/>
                  </a:lnTo>
                  <a:cubicBezTo>
                    <a:pt x="21600" y="14855"/>
                    <a:pt x="14636" y="20236"/>
                    <a:pt x="944" y="21600"/>
                  </a:cubicBezTo>
                  <a:cubicBezTo>
                    <a:pt x="944" y="21600"/>
                    <a:pt x="944" y="16598"/>
                    <a:pt x="944" y="16598"/>
                  </a:cubicBezTo>
                  <a:close/>
                  <a:moveTo>
                    <a:pt x="944" y="16598"/>
                  </a:move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8" name="AutoShape 35">
              <a:extLst>
                <a:ext uri="{FF2B5EF4-FFF2-40B4-BE49-F238E27FC236}">
                  <a16:creationId xmlns:a16="http://schemas.microsoft.com/office/drawing/2014/main" id="{CCE48EE1-A0AD-43F9-B1A6-7A2043E4186F}"/>
                </a:ext>
              </a:extLst>
            </p:cNvPr>
            <p:cNvSpPr>
              <a:spLocks/>
            </p:cNvSpPr>
            <p:nvPr/>
          </p:nvSpPr>
          <p:spPr bwMode="auto">
            <a:xfrm>
              <a:off x="5511800" y="2654300"/>
              <a:ext cx="1309688" cy="1538288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0" y="14623"/>
                  </a:moveTo>
                  <a:lnTo>
                    <a:pt x="7123" y="14623"/>
                  </a:lnTo>
                  <a:cubicBezTo>
                    <a:pt x="7400" y="16240"/>
                    <a:pt x="8279" y="17146"/>
                    <a:pt x="10870" y="17146"/>
                  </a:cubicBezTo>
                  <a:cubicBezTo>
                    <a:pt x="13089" y="17146"/>
                    <a:pt x="14154" y="16437"/>
                    <a:pt x="14154" y="15254"/>
                  </a:cubicBezTo>
                  <a:cubicBezTo>
                    <a:pt x="14154" y="14111"/>
                    <a:pt x="12858" y="13598"/>
                    <a:pt x="9482" y="13165"/>
                  </a:cubicBezTo>
                  <a:cubicBezTo>
                    <a:pt x="3053" y="12416"/>
                    <a:pt x="370" y="10839"/>
                    <a:pt x="370" y="6622"/>
                  </a:cubicBezTo>
                  <a:cubicBezTo>
                    <a:pt x="370" y="2168"/>
                    <a:pt x="5088" y="0"/>
                    <a:pt x="10453" y="0"/>
                  </a:cubicBezTo>
                  <a:cubicBezTo>
                    <a:pt x="16189" y="0"/>
                    <a:pt x="20305" y="1695"/>
                    <a:pt x="20860" y="6543"/>
                  </a:cubicBezTo>
                  <a:lnTo>
                    <a:pt x="13876" y="6543"/>
                  </a:lnTo>
                  <a:cubicBezTo>
                    <a:pt x="13552" y="5045"/>
                    <a:pt x="12581" y="4336"/>
                    <a:pt x="10546" y="4336"/>
                  </a:cubicBezTo>
                  <a:cubicBezTo>
                    <a:pt x="8603" y="4336"/>
                    <a:pt x="7539" y="5085"/>
                    <a:pt x="7539" y="6149"/>
                  </a:cubicBezTo>
                  <a:cubicBezTo>
                    <a:pt x="7539" y="7253"/>
                    <a:pt x="8649" y="7686"/>
                    <a:pt x="11841" y="8041"/>
                  </a:cubicBezTo>
                  <a:cubicBezTo>
                    <a:pt x="18316" y="8750"/>
                    <a:pt x="21600" y="10209"/>
                    <a:pt x="21600" y="14584"/>
                  </a:cubicBezTo>
                  <a:cubicBezTo>
                    <a:pt x="21600" y="19314"/>
                    <a:pt x="17484" y="21600"/>
                    <a:pt x="10916" y="21600"/>
                  </a:cubicBezTo>
                  <a:cubicBezTo>
                    <a:pt x="4163" y="21600"/>
                    <a:pt x="231" y="19117"/>
                    <a:pt x="0" y="14623"/>
                  </a:cubicBezTo>
                  <a:close/>
                  <a:moveTo>
                    <a:pt x="0" y="14623"/>
                  </a:move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9" name="AutoShape 36">
              <a:extLst>
                <a:ext uri="{FF2B5EF4-FFF2-40B4-BE49-F238E27FC236}">
                  <a16:creationId xmlns:a16="http://schemas.microsoft.com/office/drawing/2014/main" id="{C2E65EF5-BC07-4391-86E5-301CD9047D6B}"/>
                </a:ext>
              </a:extLst>
            </p:cNvPr>
            <p:cNvSpPr>
              <a:spLocks/>
            </p:cNvSpPr>
            <p:nvPr/>
          </p:nvSpPr>
          <p:spPr bwMode="auto">
            <a:xfrm>
              <a:off x="914400" y="5194300"/>
              <a:ext cx="947738" cy="1808163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4090" y="15764"/>
                  </a:moveTo>
                  <a:lnTo>
                    <a:pt x="4090" y="7547"/>
                  </a:lnTo>
                  <a:lnTo>
                    <a:pt x="0" y="7547"/>
                  </a:lnTo>
                  <a:lnTo>
                    <a:pt x="0" y="3690"/>
                  </a:lnTo>
                  <a:lnTo>
                    <a:pt x="4090" y="3690"/>
                  </a:lnTo>
                  <a:lnTo>
                    <a:pt x="4090" y="0"/>
                  </a:lnTo>
                  <a:lnTo>
                    <a:pt x="14698" y="0"/>
                  </a:lnTo>
                  <a:lnTo>
                    <a:pt x="14698" y="3690"/>
                  </a:lnTo>
                  <a:lnTo>
                    <a:pt x="21472" y="3690"/>
                  </a:lnTo>
                  <a:lnTo>
                    <a:pt x="21472" y="7547"/>
                  </a:lnTo>
                  <a:lnTo>
                    <a:pt x="14698" y="7547"/>
                  </a:lnTo>
                  <a:lnTo>
                    <a:pt x="14698" y="15227"/>
                  </a:lnTo>
                  <a:cubicBezTo>
                    <a:pt x="14698" y="16569"/>
                    <a:pt x="15976" y="17173"/>
                    <a:pt x="18213" y="17173"/>
                  </a:cubicBezTo>
                  <a:cubicBezTo>
                    <a:pt x="19555" y="17173"/>
                    <a:pt x="20514" y="17072"/>
                    <a:pt x="21600" y="16871"/>
                  </a:cubicBezTo>
                  <a:lnTo>
                    <a:pt x="21600" y="21131"/>
                  </a:lnTo>
                  <a:cubicBezTo>
                    <a:pt x="20130" y="21332"/>
                    <a:pt x="18085" y="21600"/>
                    <a:pt x="15465" y="21600"/>
                  </a:cubicBezTo>
                  <a:cubicBezTo>
                    <a:pt x="8180" y="21600"/>
                    <a:pt x="4090" y="19688"/>
                    <a:pt x="4090" y="15764"/>
                  </a:cubicBezTo>
                  <a:close/>
                  <a:moveTo>
                    <a:pt x="4090" y="15764"/>
                  </a:move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20" name="AutoShape 37">
              <a:extLst>
                <a:ext uri="{FF2B5EF4-FFF2-40B4-BE49-F238E27FC236}">
                  <a16:creationId xmlns:a16="http://schemas.microsoft.com/office/drawing/2014/main" id="{EDBE9A70-8C9B-47D8-AE51-DD9F2DBEDE38}"/>
                </a:ext>
              </a:extLst>
            </p:cNvPr>
            <p:cNvSpPr>
              <a:spLocks/>
            </p:cNvSpPr>
            <p:nvPr/>
          </p:nvSpPr>
          <p:spPr bwMode="auto">
            <a:xfrm>
              <a:off x="1917700" y="5461000"/>
              <a:ext cx="1382713" cy="1538288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14414" y="13874"/>
                  </a:moveTo>
                  <a:lnTo>
                    <a:pt x="14414" y="11273"/>
                  </a:lnTo>
                  <a:cubicBezTo>
                    <a:pt x="13845" y="11746"/>
                    <a:pt x="12881" y="12101"/>
                    <a:pt x="11129" y="12416"/>
                  </a:cubicBezTo>
                  <a:cubicBezTo>
                    <a:pt x="8806" y="12889"/>
                    <a:pt x="7185" y="13598"/>
                    <a:pt x="7185" y="15136"/>
                  </a:cubicBezTo>
                  <a:cubicBezTo>
                    <a:pt x="7185" y="16358"/>
                    <a:pt x="8018" y="17185"/>
                    <a:pt x="10077" y="17185"/>
                  </a:cubicBezTo>
                  <a:cubicBezTo>
                    <a:pt x="12531" y="17185"/>
                    <a:pt x="14414" y="15885"/>
                    <a:pt x="14414" y="13874"/>
                  </a:cubicBezTo>
                  <a:close/>
                  <a:moveTo>
                    <a:pt x="0" y="15609"/>
                  </a:moveTo>
                  <a:cubicBezTo>
                    <a:pt x="0" y="10800"/>
                    <a:pt x="4600" y="9696"/>
                    <a:pt x="10690" y="8790"/>
                  </a:cubicBezTo>
                  <a:cubicBezTo>
                    <a:pt x="13363" y="8396"/>
                    <a:pt x="14371" y="7765"/>
                    <a:pt x="14371" y="6543"/>
                  </a:cubicBezTo>
                  <a:cubicBezTo>
                    <a:pt x="14371" y="5282"/>
                    <a:pt x="13538" y="4533"/>
                    <a:pt x="11216" y="4533"/>
                  </a:cubicBezTo>
                  <a:cubicBezTo>
                    <a:pt x="8938" y="4533"/>
                    <a:pt x="7886" y="5636"/>
                    <a:pt x="7711" y="7095"/>
                  </a:cubicBezTo>
                  <a:lnTo>
                    <a:pt x="832" y="7095"/>
                  </a:lnTo>
                  <a:cubicBezTo>
                    <a:pt x="1270" y="2247"/>
                    <a:pt x="5564" y="0"/>
                    <a:pt x="11567" y="0"/>
                  </a:cubicBezTo>
                  <a:cubicBezTo>
                    <a:pt x="17613" y="0"/>
                    <a:pt x="21600" y="2247"/>
                    <a:pt x="21600" y="7450"/>
                  </a:cubicBezTo>
                  <a:lnTo>
                    <a:pt x="21600" y="21127"/>
                  </a:lnTo>
                  <a:lnTo>
                    <a:pt x="14590" y="21127"/>
                  </a:lnTo>
                  <a:lnTo>
                    <a:pt x="14590" y="18644"/>
                  </a:lnTo>
                  <a:cubicBezTo>
                    <a:pt x="13363" y="20221"/>
                    <a:pt x="11391" y="21600"/>
                    <a:pt x="7711" y="21600"/>
                  </a:cubicBezTo>
                  <a:cubicBezTo>
                    <a:pt x="3549" y="21600"/>
                    <a:pt x="0" y="19787"/>
                    <a:pt x="0" y="15609"/>
                  </a:cubicBezTo>
                  <a:close/>
                  <a:moveTo>
                    <a:pt x="0" y="15609"/>
                  </a:move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21" name="AutoShape 38">
              <a:extLst>
                <a:ext uri="{FF2B5EF4-FFF2-40B4-BE49-F238E27FC236}">
                  <a16:creationId xmlns:a16="http://schemas.microsoft.com/office/drawing/2014/main" id="{99DB4D65-C1B7-4A9B-B42A-3CC7136130A2}"/>
                </a:ext>
              </a:extLst>
            </p:cNvPr>
            <p:cNvSpPr>
              <a:spLocks/>
            </p:cNvSpPr>
            <p:nvPr/>
          </p:nvSpPr>
          <p:spPr bwMode="auto">
            <a:xfrm>
              <a:off x="3530600" y="4902200"/>
              <a:ext cx="461963" cy="2062163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0" y="0"/>
                  </a:moveTo>
                  <a:lnTo>
                    <a:pt x="21600" y="0"/>
                  </a:lnTo>
                  <a:lnTo>
                    <a:pt x="21600" y="21600"/>
                  </a:lnTo>
                  <a:lnTo>
                    <a:pt x="0" y="21600"/>
                  </a:lnTo>
                  <a:cubicBezTo>
                    <a:pt x="0" y="21600"/>
                    <a:pt x="0" y="0"/>
                    <a:pt x="0" y="0"/>
                  </a:cubicBezTo>
                  <a:close/>
                  <a:moveTo>
                    <a:pt x="0" y="0"/>
                  </a:move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22" name="AutoShape 39">
              <a:extLst>
                <a:ext uri="{FF2B5EF4-FFF2-40B4-BE49-F238E27FC236}">
                  <a16:creationId xmlns:a16="http://schemas.microsoft.com/office/drawing/2014/main" id="{2F7D8AB1-1210-4347-A589-CB3DCD71D9F2}"/>
                </a:ext>
              </a:extLst>
            </p:cNvPr>
            <p:cNvSpPr>
              <a:spLocks/>
            </p:cNvSpPr>
            <p:nvPr/>
          </p:nvSpPr>
          <p:spPr bwMode="auto">
            <a:xfrm>
              <a:off x="4229100" y="4902200"/>
              <a:ext cx="1419225" cy="2062163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0" y="0"/>
                  </a:moveTo>
                  <a:lnTo>
                    <a:pt x="7086" y="0"/>
                  </a:lnTo>
                  <a:lnTo>
                    <a:pt x="7086" y="12461"/>
                  </a:lnTo>
                  <a:lnTo>
                    <a:pt x="13532" y="6230"/>
                  </a:lnTo>
                  <a:lnTo>
                    <a:pt x="20960" y="6230"/>
                  </a:lnTo>
                  <a:lnTo>
                    <a:pt x="13319" y="13166"/>
                  </a:lnTo>
                  <a:lnTo>
                    <a:pt x="21600" y="21600"/>
                  </a:lnTo>
                  <a:lnTo>
                    <a:pt x="13617" y="21600"/>
                  </a:lnTo>
                  <a:lnTo>
                    <a:pt x="7086" y="14694"/>
                  </a:lnTo>
                  <a:lnTo>
                    <a:pt x="7086" y="21600"/>
                  </a:lnTo>
                  <a:lnTo>
                    <a:pt x="0" y="21600"/>
                  </a:lnTo>
                  <a:cubicBezTo>
                    <a:pt x="0" y="21600"/>
                    <a:pt x="0" y="0"/>
                    <a:pt x="0" y="0"/>
                  </a:cubicBezTo>
                  <a:close/>
                  <a:moveTo>
                    <a:pt x="0" y="0"/>
                  </a:move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23" name="AutoShape 40">
              <a:extLst>
                <a:ext uri="{FF2B5EF4-FFF2-40B4-BE49-F238E27FC236}">
                  <a16:creationId xmlns:a16="http://schemas.microsoft.com/office/drawing/2014/main" id="{2614580D-E835-453E-A2BE-5C799065FC18}"/>
                </a:ext>
              </a:extLst>
            </p:cNvPr>
            <p:cNvSpPr>
              <a:spLocks/>
            </p:cNvSpPr>
            <p:nvPr/>
          </p:nvSpPr>
          <p:spPr bwMode="auto">
            <a:xfrm>
              <a:off x="6146800" y="5461000"/>
              <a:ext cx="1382713" cy="1538288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14414" y="13874"/>
                  </a:moveTo>
                  <a:lnTo>
                    <a:pt x="14414" y="11273"/>
                  </a:lnTo>
                  <a:cubicBezTo>
                    <a:pt x="13845" y="11746"/>
                    <a:pt x="12881" y="12101"/>
                    <a:pt x="11129" y="12416"/>
                  </a:cubicBezTo>
                  <a:cubicBezTo>
                    <a:pt x="8806" y="12889"/>
                    <a:pt x="7185" y="13598"/>
                    <a:pt x="7185" y="15136"/>
                  </a:cubicBezTo>
                  <a:cubicBezTo>
                    <a:pt x="7185" y="16358"/>
                    <a:pt x="8018" y="17185"/>
                    <a:pt x="10077" y="17185"/>
                  </a:cubicBezTo>
                  <a:cubicBezTo>
                    <a:pt x="12531" y="17185"/>
                    <a:pt x="14414" y="15885"/>
                    <a:pt x="14414" y="13874"/>
                  </a:cubicBezTo>
                  <a:close/>
                  <a:moveTo>
                    <a:pt x="0" y="15609"/>
                  </a:moveTo>
                  <a:cubicBezTo>
                    <a:pt x="0" y="10800"/>
                    <a:pt x="4600" y="9696"/>
                    <a:pt x="10690" y="8790"/>
                  </a:cubicBezTo>
                  <a:cubicBezTo>
                    <a:pt x="13363" y="8396"/>
                    <a:pt x="14371" y="7765"/>
                    <a:pt x="14371" y="6543"/>
                  </a:cubicBezTo>
                  <a:cubicBezTo>
                    <a:pt x="14371" y="5282"/>
                    <a:pt x="13538" y="4533"/>
                    <a:pt x="11216" y="4533"/>
                  </a:cubicBezTo>
                  <a:cubicBezTo>
                    <a:pt x="8938" y="4533"/>
                    <a:pt x="7886" y="5636"/>
                    <a:pt x="7711" y="7095"/>
                  </a:cubicBezTo>
                  <a:lnTo>
                    <a:pt x="832" y="7095"/>
                  </a:lnTo>
                  <a:cubicBezTo>
                    <a:pt x="1270" y="2247"/>
                    <a:pt x="5564" y="0"/>
                    <a:pt x="11567" y="0"/>
                  </a:cubicBezTo>
                  <a:cubicBezTo>
                    <a:pt x="17613" y="0"/>
                    <a:pt x="21600" y="2247"/>
                    <a:pt x="21600" y="7450"/>
                  </a:cubicBezTo>
                  <a:lnTo>
                    <a:pt x="21600" y="21127"/>
                  </a:lnTo>
                  <a:lnTo>
                    <a:pt x="14590" y="21127"/>
                  </a:lnTo>
                  <a:lnTo>
                    <a:pt x="14590" y="18644"/>
                  </a:lnTo>
                  <a:cubicBezTo>
                    <a:pt x="13363" y="20221"/>
                    <a:pt x="11391" y="21600"/>
                    <a:pt x="7711" y="21600"/>
                  </a:cubicBezTo>
                  <a:cubicBezTo>
                    <a:pt x="3549" y="21600"/>
                    <a:pt x="0" y="19787"/>
                    <a:pt x="0" y="15609"/>
                  </a:cubicBezTo>
                  <a:close/>
                  <a:moveTo>
                    <a:pt x="0" y="15609"/>
                  </a:move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24" name="AutoShape 41">
              <a:extLst>
                <a:ext uri="{FF2B5EF4-FFF2-40B4-BE49-F238E27FC236}">
                  <a16:creationId xmlns:a16="http://schemas.microsoft.com/office/drawing/2014/main" id="{F469955A-20E0-4748-ADAC-3EF83696B968}"/>
                </a:ext>
              </a:extLst>
            </p:cNvPr>
            <p:cNvSpPr>
              <a:spLocks/>
            </p:cNvSpPr>
            <p:nvPr/>
          </p:nvSpPr>
          <p:spPr bwMode="auto">
            <a:xfrm>
              <a:off x="7747000" y="4902200"/>
              <a:ext cx="1554163" cy="2097088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15011" y="13793"/>
                  </a:moveTo>
                  <a:lnTo>
                    <a:pt x="15011" y="13561"/>
                  </a:lnTo>
                  <a:cubicBezTo>
                    <a:pt x="15011" y="10757"/>
                    <a:pt x="13295" y="9398"/>
                    <a:pt x="10683" y="9398"/>
                  </a:cubicBezTo>
                  <a:cubicBezTo>
                    <a:pt x="7993" y="9398"/>
                    <a:pt x="6277" y="10814"/>
                    <a:pt x="6277" y="13533"/>
                  </a:cubicBezTo>
                  <a:lnTo>
                    <a:pt x="6277" y="13764"/>
                  </a:lnTo>
                  <a:cubicBezTo>
                    <a:pt x="6277" y="16511"/>
                    <a:pt x="7993" y="17899"/>
                    <a:pt x="10722" y="17899"/>
                  </a:cubicBezTo>
                  <a:cubicBezTo>
                    <a:pt x="13529" y="17899"/>
                    <a:pt x="15011" y="16453"/>
                    <a:pt x="15011" y="13793"/>
                  </a:cubicBezTo>
                  <a:close/>
                  <a:moveTo>
                    <a:pt x="6472" y="18882"/>
                  </a:moveTo>
                  <a:lnTo>
                    <a:pt x="6472" y="21253"/>
                  </a:lnTo>
                  <a:lnTo>
                    <a:pt x="0" y="21253"/>
                  </a:lnTo>
                  <a:lnTo>
                    <a:pt x="0" y="0"/>
                  </a:lnTo>
                  <a:lnTo>
                    <a:pt x="6472" y="0"/>
                  </a:lnTo>
                  <a:lnTo>
                    <a:pt x="6472" y="8415"/>
                  </a:lnTo>
                  <a:cubicBezTo>
                    <a:pt x="7642" y="6969"/>
                    <a:pt x="9825" y="5754"/>
                    <a:pt x="12906" y="5754"/>
                  </a:cubicBezTo>
                  <a:cubicBezTo>
                    <a:pt x="17740" y="5754"/>
                    <a:pt x="21600" y="8443"/>
                    <a:pt x="21600" y="13561"/>
                  </a:cubicBezTo>
                  <a:lnTo>
                    <a:pt x="21600" y="13793"/>
                  </a:lnTo>
                  <a:cubicBezTo>
                    <a:pt x="21600" y="18911"/>
                    <a:pt x="17779" y="21600"/>
                    <a:pt x="12866" y="21600"/>
                  </a:cubicBezTo>
                  <a:cubicBezTo>
                    <a:pt x="9786" y="21600"/>
                    <a:pt x="7525" y="20501"/>
                    <a:pt x="6472" y="18882"/>
                  </a:cubicBezTo>
                  <a:close/>
                  <a:moveTo>
                    <a:pt x="6472" y="18882"/>
                  </a:move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25" name="AutoShape 42">
              <a:extLst>
                <a:ext uri="{FF2B5EF4-FFF2-40B4-BE49-F238E27FC236}">
                  <a16:creationId xmlns:a16="http://schemas.microsoft.com/office/drawing/2014/main" id="{896D7F85-6DE4-481F-9655-AD4EE789C8A0}"/>
                </a:ext>
              </a:extLst>
            </p:cNvPr>
            <p:cNvSpPr>
              <a:spLocks/>
            </p:cNvSpPr>
            <p:nvPr/>
          </p:nvSpPr>
          <p:spPr bwMode="auto">
            <a:xfrm>
              <a:off x="9398000" y="5461000"/>
              <a:ext cx="1582738" cy="1538288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15128" y="10958"/>
                  </a:moveTo>
                  <a:lnTo>
                    <a:pt x="15128" y="10642"/>
                  </a:lnTo>
                  <a:cubicBezTo>
                    <a:pt x="15128" y="7016"/>
                    <a:pt x="13596" y="4927"/>
                    <a:pt x="10838" y="4927"/>
                  </a:cubicBezTo>
                  <a:cubicBezTo>
                    <a:pt x="8042" y="4927"/>
                    <a:pt x="6472" y="6937"/>
                    <a:pt x="6472" y="10563"/>
                  </a:cubicBezTo>
                  <a:lnTo>
                    <a:pt x="6472" y="10879"/>
                  </a:lnTo>
                  <a:cubicBezTo>
                    <a:pt x="6472" y="14584"/>
                    <a:pt x="8004" y="16673"/>
                    <a:pt x="10838" y="16673"/>
                  </a:cubicBezTo>
                  <a:cubicBezTo>
                    <a:pt x="13596" y="16673"/>
                    <a:pt x="15128" y="14544"/>
                    <a:pt x="15128" y="10958"/>
                  </a:cubicBezTo>
                  <a:close/>
                  <a:moveTo>
                    <a:pt x="0" y="11076"/>
                  </a:moveTo>
                  <a:lnTo>
                    <a:pt x="0" y="10761"/>
                  </a:lnTo>
                  <a:cubicBezTo>
                    <a:pt x="0" y="4178"/>
                    <a:pt x="4672" y="0"/>
                    <a:pt x="10838" y="0"/>
                  </a:cubicBezTo>
                  <a:cubicBezTo>
                    <a:pt x="16927" y="0"/>
                    <a:pt x="21600" y="4060"/>
                    <a:pt x="21600" y="10563"/>
                  </a:cubicBezTo>
                  <a:lnTo>
                    <a:pt x="21600" y="10879"/>
                  </a:lnTo>
                  <a:cubicBezTo>
                    <a:pt x="21600" y="17540"/>
                    <a:pt x="16889" y="21600"/>
                    <a:pt x="10800" y="21600"/>
                  </a:cubicBezTo>
                  <a:cubicBezTo>
                    <a:pt x="4672" y="21600"/>
                    <a:pt x="0" y="17658"/>
                    <a:pt x="0" y="11076"/>
                  </a:cubicBezTo>
                  <a:close/>
                  <a:moveTo>
                    <a:pt x="0" y="11076"/>
                  </a:move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26" name="AutoShape 43">
              <a:extLst>
                <a:ext uri="{FF2B5EF4-FFF2-40B4-BE49-F238E27FC236}">
                  <a16:creationId xmlns:a16="http://schemas.microsoft.com/office/drawing/2014/main" id="{3FBDD8C8-2A2C-488B-B85D-B255B1F2F02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25200" y="5499100"/>
              <a:ext cx="1428750" cy="1501775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0" y="13727"/>
                  </a:moveTo>
                  <a:lnTo>
                    <a:pt x="0" y="0"/>
                  </a:lnTo>
                  <a:lnTo>
                    <a:pt x="7045" y="0"/>
                  </a:lnTo>
                  <a:lnTo>
                    <a:pt x="7045" y="12677"/>
                  </a:lnTo>
                  <a:cubicBezTo>
                    <a:pt x="7045" y="15261"/>
                    <a:pt x="8105" y="16472"/>
                    <a:pt x="10439" y="16472"/>
                  </a:cubicBezTo>
                  <a:cubicBezTo>
                    <a:pt x="12858" y="16472"/>
                    <a:pt x="14556" y="15100"/>
                    <a:pt x="14556" y="12233"/>
                  </a:cubicBezTo>
                  <a:lnTo>
                    <a:pt x="14556" y="0"/>
                  </a:lnTo>
                  <a:lnTo>
                    <a:pt x="21600" y="0"/>
                  </a:lnTo>
                  <a:lnTo>
                    <a:pt x="21600" y="21115"/>
                  </a:lnTo>
                  <a:lnTo>
                    <a:pt x="14556" y="21115"/>
                  </a:lnTo>
                  <a:lnTo>
                    <a:pt x="14556" y="17845"/>
                  </a:lnTo>
                  <a:cubicBezTo>
                    <a:pt x="13367" y="19985"/>
                    <a:pt x="11161" y="21600"/>
                    <a:pt x="7511" y="21600"/>
                  </a:cubicBezTo>
                  <a:cubicBezTo>
                    <a:pt x="3183" y="21600"/>
                    <a:pt x="0" y="19097"/>
                    <a:pt x="0" y="13727"/>
                  </a:cubicBezTo>
                  <a:close/>
                  <a:moveTo>
                    <a:pt x="0" y="13727"/>
                  </a:move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27" name="AutoShape 44">
              <a:extLst>
                <a:ext uri="{FF2B5EF4-FFF2-40B4-BE49-F238E27FC236}">
                  <a16:creationId xmlns:a16="http://schemas.microsoft.com/office/drawing/2014/main" id="{7AE7B988-F203-4B08-83EC-A7E857709520}"/>
                </a:ext>
              </a:extLst>
            </p:cNvPr>
            <p:cNvSpPr>
              <a:spLocks/>
            </p:cNvSpPr>
            <p:nvPr/>
          </p:nvSpPr>
          <p:spPr bwMode="auto">
            <a:xfrm>
              <a:off x="12674600" y="5194300"/>
              <a:ext cx="947738" cy="1808163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4090" y="15764"/>
                  </a:moveTo>
                  <a:lnTo>
                    <a:pt x="4090" y="7547"/>
                  </a:lnTo>
                  <a:lnTo>
                    <a:pt x="0" y="7547"/>
                  </a:lnTo>
                  <a:lnTo>
                    <a:pt x="0" y="3690"/>
                  </a:lnTo>
                  <a:lnTo>
                    <a:pt x="4090" y="3690"/>
                  </a:lnTo>
                  <a:lnTo>
                    <a:pt x="4090" y="0"/>
                  </a:lnTo>
                  <a:lnTo>
                    <a:pt x="14698" y="0"/>
                  </a:lnTo>
                  <a:lnTo>
                    <a:pt x="14698" y="3690"/>
                  </a:lnTo>
                  <a:lnTo>
                    <a:pt x="21472" y="3690"/>
                  </a:lnTo>
                  <a:lnTo>
                    <a:pt x="21472" y="7547"/>
                  </a:lnTo>
                  <a:lnTo>
                    <a:pt x="14698" y="7547"/>
                  </a:lnTo>
                  <a:lnTo>
                    <a:pt x="14698" y="15227"/>
                  </a:lnTo>
                  <a:cubicBezTo>
                    <a:pt x="14698" y="16569"/>
                    <a:pt x="15976" y="17173"/>
                    <a:pt x="18213" y="17173"/>
                  </a:cubicBezTo>
                  <a:cubicBezTo>
                    <a:pt x="19555" y="17173"/>
                    <a:pt x="20514" y="17072"/>
                    <a:pt x="21600" y="16871"/>
                  </a:cubicBezTo>
                  <a:lnTo>
                    <a:pt x="21600" y="21131"/>
                  </a:lnTo>
                  <a:cubicBezTo>
                    <a:pt x="20130" y="21332"/>
                    <a:pt x="18085" y="21600"/>
                    <a:pt x="15465" y="21600"/>
                  </a:cubicBezTo>
                  <a:cubicBezTo>
                    <a:pt x="8180" y="21600"/>
                    <a:pt x="4090" y="19688"/>
                    <a:pt x="4090" y="15764"/>
                  </a:cubicBezTo>
                  <a:close/>
                  <a:moveTo>
                    <a:pt x="4090" y="15764"/>
                  </a:move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28" name="AutoShape 45">
              <a:extLst>
                <a:ext uri="{FF2B5EF4-FFF2-40B4-BE49-F238E27FC236}">
                  <a16:creationId xmlns:a16="http://schemas.microsoft.com/office/drawing/2014/main" id="{72594E18-1279-41D8-AE1A-58B03F205C74}"/>
                </a:ext>
              </a:extLst>
            </p:cNvPr>
            <p:cNvSpPr>
              <a:spLocks/>
            </p:cNvSpPr>
            <p:nvPr/>
          </p:nvSpPr>
          <p:spPr bwMode="auto">
            <a:xfrm>
              <a:off x="874713" y="8305800"/>
              <a:ext cx="2292350" cy="1468438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0" y="0"/>
                  </a:moveTo>
                  <a:lnTo>
                    <a:pt x="4606" y="0"/>
                  </a:lnTo>
                  <a:lnTo>
                    <a:pt x="6803" y="13546"/>
                  </a:lnTo>
                  <a:lnTo>
                    <a:pt x="9265" y="0"/>
                  </a:lnTo>
                  <a:lnTo>
                    <a:pt x="12812" y="0"/>
                  </a:lnTo>
                  <a:lnTo>
                    <a:pt x="15035" y="13546"/>
                  </a:lnTo>
                  <a:lnTo>
                    <a:pt x="17418" y="0"/>
                  </a:lnTo>
                  <a:lnTo>
                    <a:pt x="21600" y="0"/>
                  </a:lnTo>
                  <a:lnTo>
                    <a:pt x="17232" y="21600"/>
                  </a:lnTo>
                  <a:lnTo>
                    <a:pt x="12970" y="21600"/>
                  </a:lnTo>
                  <a:lnTo>
                    <a:pt x="10800" y="8962"/>
                  </a:lnTo>
                  <a:lnTo>
                    <a:pt x="8524" y="21600"/>
                  </a:lnTo>
                  <a:lnTo>
                    <a:pt x="4209" y="21600"/>
                  </a:lnTo>
                  <a:cubicBezTo>
                    <a:pt x="4209" y="21600"/>
                    <a:pt x="0" y="0"/>
                    <a:pt x="0" y="0"/>
                  </a:cubicBezTo>
                  <a:close/>
                  <a:moveTo>
                    <a:pt x="0" y="0"/>
                  </a:move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29" name="AutoShape 46">
              <a:extLst>
                <a:ext uri="{FF2B5EF4-FFF2-40B4-BE49-F238E27FC236}">
                  <a16:creationId xmlns:a16="http://schemas.microsoft.com/office/drawing/2014/main" id="{0F80056F-20B8-4658-8FCA-40C936DB21A3}"/>
                </a:ext>
              </a:extLst>
            </p:cNvPr>
            <p:cNvSpPr>
              <a:spLocks/>
            </p:cNvSpPr>
            <p:nvPr/>
          </p:nvSpPr>
          <p:spPr bwMode="auto">
            <a:xfrm>
              <a:off x="3249613" y="7708900"/>
              <a:ext cx="1433512" cy="2062163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0" y="0"/>
                  </a:moveTo>
                  <a:lnTo>
                    <a:pt x="7030" y="0"/>
                  </a:lnTo>
                  <a:lnTo>
                    <a:pt x="7030" y="8699"/>
                  </a:lnTo>
                  <a:cubicBezTo>
                    <a:pt x="8174" y="7141"/>
                    <a:pt x="10631" y="5848"/>
                    <a:pt x="14273" y="5848"/>
                  </a:cubicBezTo>
                  <a:cubicBezTo>
                    <a:pt x="18593" y="5848"/>
                    <a:pt x="21600" y="7670"/>
                    <a:pt x="21600" y="11696"/>
                  </a:cubicBezTo>
                  <a:lnTo>
                    <a:pt x="21600" y="21600"/>
                  </a:lnTo>
                  <a:lnTo>
                    <a:pt x="14570" y="21600"/>
                  </a:lnTo>
                  <a:lnTo>
                    <a:pt x="14570" y="12578"/>
                  </a:lnTo>
                  <a:cubicBezTo>
                    <a:pt x="14570" y="10697"/>
                    <a:pt x="13511" y="9816"/>
                    <a:pt x="11139" y="9816"/>
                  </a:cubicBezTo>
                  <a:cubicBezTo>
                    <a:pt x="8767" y="9816"/>
                    <a:pt x="7030" y="10815"/>
                    <a:pt x="7030" y="12901"/>
                  </a:cubicBezTo>
                  <a:lnTo>
                    <a:pt x="7030" y="21600"/>
                  </a:lnTo>
                  <a:lnTo>
                    <a:pt x="0" y="21600"/>
                  </a:lnTo>
                  <a:cubicBezTo>
                    <a:pt x="0" y="21600"/>
                    <a:pt x="0" y="0"/>
                    <a:pt x="0" y="0"/>
                  </a:cubicBezTo>
                  <a:close/>
                  <a:moveTo>
                    <a:pt x="0" y="0"/>
                  </a:move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30" name="AutoShape 47">
              <a:extLst>
                <a:ext uri="{FF2B5EF4-FFF2-40B4-BE49-F238E27FC236}">
                  <a16:creationId xmlns:a16="http://schemas.microsoft.com/office/drawing/2014/main" id="{6B564E43-D579-44FC-B952-3785D55B52A4}"/>
                </a:ext>
              </a:extLst>
            </p:cNvPr>
            <p:cNvSpPr>
              <a:spLocks/>
            </p:cNvSpPr>
            <p:nvPr/>
          </p:nvSpPr>
          <p:spPr bwMode="auto">
            <a:xfrm>
              <a:off x="4826000" y="8267700"/>
              <a:ext cx="1382713" cy="1538288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14414" y="13875"/>
                  </a:moveTo>
                  <a:lnTo>
                    <a:pt x="14414" y="11273"/>
                  </a:lnTo>
                  <a:cubicBezTo>
                    <a:pt x="13845" y="11746"/>
                    <a:pt x="12881" y="12101"/>
                    <a:pt x="11129" y="12416"/>
                  </a:cubicBezTo>
                  <a:cubicBezTo>
                    <a:pt x="8806" y="12890"/>
                    <a:pt x="7185" y="13599"/>
                    <a:pt x="7185" y="15136"/>
                  </a:cubicBezTo>
                  <a:cubicBezTo>
                    <a:pt x="7185" y="16358"/>
                    <a:pt x="8018" y="17186"/>
                    <a:pt x="10077" y="17186"/>
                  </a:cubicBezTo>
                  <a:cubicBezTo>
                    <a:pt x="12531" y="17186"/>
                    <a:pt x="14414" y="15885"/>
                    <a:pt x="14414" y="13875"/>
                  </a:cubicBezTo>
                  <a:close/>
                  <a:moveTo>
                    <a:pt x="0" y="15609"/>
                  </a:moveTo>
                  <a:cubicBezTo>
                    <a:pt x="0" y="10800"/>
                    <a:pt x="4600" y="9696"/>
                    <a:pt x="10690" y="8790"/>
                  </a:cubicBezTo>
                  <a:cubicBezTo>
                    <a:pt x="13363" y="8396"/>
                    <a:pt x="14371" y="7765"/>
                    <a:pt x="14371" y="6543"/>
                  </a:cubicBezTo>
                  <a:cubicBezTo>
                    <a:pt x="14371" y="5282"/>
                    <a:pt x="13538" y="4533"/>
                    <a:pt x="11216" y="4533"/>
                  </a:cubicBezTo>
                  <a:cubicBezTo>
                    <a:pt x="8938" y="4533"/>
                    <a:pt x="7886" y="5637"/>
                    <a:pt x="7711" y="7095"/>
                  </a:cubicBezTo>
                  <a:lnTo>
                    <a:pt x="832" y="7095"/>
                  </a:lnTo>
                  <a:cubicBezTo>
                    <a:pt x="1270" y="2247"/>
                    <a:pt x="5564" y="0"/>
                    <a:pt x="11567" y="0"/>
                  </a:cubicBezTo>
                  <a:cubicBezTo>
                    <a:pt x="17613" y="0"/>
                    <a:pt x="21600" y="2247"/>
                    <a:pt x="21600" y="7450"/>
                  </a:cubicBezTo>
                  <a:lnTo>
                    <a:pt x="21600" y="21127"/>
                  </a:lnTo>
                  <a:lnTo>
                    <a:pt x="14590" y="21127"/>
                  </a:lnTo>
                  <a:lnTo>
                    <a:pt x="14590" y="18644"/>
                  </a:lnTo>
                  <a:cubicBezTo>
                    <a:pt x="13363" y="20221"/>
                    <a:pt x="11391" y="21600"/>
                    <a:pt x="7711" y="21600"/>
                  </a:cubicBezTo>
                  <a:cubicBezTo>
                    <a:pt x="3549" y="21600"/>
                    <a:pt x="0" y="19787"/>
                    <a:pt x="0" y="15609"/>
                  </a:cubicBezTo>
                  <a:close/>
                  <a:moveTo>
                    <a:pt x="0" y="15609"/>
                  </a:move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31" name="AutoShape 48">
              <a:extLst>
                <a:ext uri="{FF2B5EF4-FFF2-40B4-BE49-F238E27FC236}">
                  <a16:creationId xmlns:a16="http://schemas.microsoft.com/office/drawing/2014/main" id="{37752E04-17F0-45AA-80CE-CC279998AD87}"/>
                </a:ext>
              </a:extLst>
            </p:cNvPr>
            <p:cNvSpPr>
              <a:spLocks/>
            </p:cNvSpPr>
            <p:nvPr/>
          </p:nvSpPr>
          <p:spPr bwMode="auto">
            <a:xfrm>
              <a:off x="6286500" y="8001000"/>
              <a:ext cx="947738" cy="1808163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4090" y="15764"/>
                  </a:moveTo>
                  <a:lnTo>
                    <a:pt x="4090" y="7547"/>
                  </a:lnTo>
                  <a:lnTo>
                    <a:pt x="0" y="7547"/>
                  </a:lnTo>
                  <a:lnTo>
                    <a:pt x="0" y="3690"/>
                  </a:lnTo>
                  <a:lnTo>
                    <a:pt x="4090" y="3690"/>
                  </a:lnTo>
                  <a:lnTo>
                    <a:pt x="4090" y="0"/>
                  </a:lnTo>
                  <a:lnTo>
                    <a:pt x="14698" y="0"/>
                  </a:lnTo>
                  <a:lnTo>
                    <a:pt x="14698" y="3690"/>
                  </a:lnTo>
                  <a:lnTo>
                    <a:pt x="21472" y="3690"/>
                  </a:lnTo>
                  <a:lnTo>
                    <a:pt x="21472" y="7547"/>
                  </a:lnTo>
                  <a:lnTo>
                    <a:pt x="14698" y="7547"/>
                  </a:lnTo>
                  <a:lnTo>
                    <a:pt x="14698" y="15228"/>
                  </a:lnTo>
                  <a:cubicBezTo>
                    <a:pt x="14698" y="16569"/>
                    <a:pt x="15976" y="17173"/>
                    <a:pt x="18213" y="17173"/>
                  </a:cubicBezTo>
                  <a:cubicBezTo>
                    <a:pt x="19555" y="17173"/>
                    <a:pt x="20514" y="17072"/>
                    <a:pt x="21600" y="16871"/>
                  </a:cubicBezTo>
                  <a:lnTo>
                    <a:pt x="21600" y="21130"/>
                  </a:lnTo>
                  <a:cubicBezTo>
                    <a:pt x="20130" y="21332"/>
                    <a:pt x="18085" y="21600"/>
                    <a:pt x="15465" y="21600"/>
                  </a:cubicBezTo>
                  <a:cubicBezTo>
                    <a:pt x="8180" y="21600"/>
                    <a:pt x="4090" y="19689"/>
                    <a:pt x="4090" y="15764"/>
                  </a:cubicBezTo>
                  <a:close/>
                  <a:moveTo>
                    <a:pt x="4090" y="15764"/>
                  </a:move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32" name="AutoShape 49">
              <a:extLst>
                <a:ext uri="{FF2B5EF4-FFF2-40B4-BE49-F238E27FC236}">
                  <a16:creationId xmlns:a16="http://schemas.microsoft.com/office/drawing/2014/main" id="{50C55E8A-1411-4E25-8E7D-F5F8F968A6AC}"/>
                </a:ext>
              </a:extLst>
            </p:cNvPr>
            <p:cNvSpPr>
              <a:spLocks/>
            </p:cNvSpPr>
            <p:nvPr/>
          </p:nvSpPr>
          <p:spPr bwMode="auto">
            <a:xfrm>
              <a:off x="7378700" y="7747000"/>
              <a:ext cx="512763" cy="800100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944" y="16598"/>
                  </a:moveTo>
                  <a:cubicBezTo>
                    <a:pt x="6374" y="15764"/>
                    <a:pt x="8852" y="13642"/>
                    <a:pt x="9442" y="11748"/>
                  </a:cubicBezTo>
                  <a:cubicBezTo>
                    <a:pt x="3423" y="11520"/>
                    <a:pt x="0" y="9322"/>
                    <a:pt x="0" y="5911"/>
                  </a:cubicBezTo>
                  <a:cubicBezTo>
                    <a:pt x="0" y="2197"/>
                    <a:pt x="4721" y="0"/>
                    <a:pt x="10387" y="0"/>
                  </a:cubicBezTo>
                  <a:cubicBezTo>
                    <a:pt x="16879" y="0"/>
                    <a:pt x="21600" y="2956"/>
                    <a:pt x="21600" y="7655"/>
                  </a:cubicBezTo>
                  <a:lnTo>
                    <a:pt x="21600" y="8186"/>
                  </a:lnTo>
                  <a:cubicBezTo>
                    <a:pt x="21600" y="14855"/>
                    <a:pt x="14636" y="20236"/>
                    <a:pt x="944" y="21600"/>
                  </a:cubicBezTo>
                  <a:cubicBezTo>
                    <a:pt x="944" y="21600"/>
                    <a:pt x="944" y="16598"/>
                    <a:pt x="944" y="16598"/>
                  </a:cubicBezTo>
                  <a:close/>
                  <a:moveTo>
                    <a:pt x="944" y="16598"/>
                  </a:move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33" name="AutoShape 50">
              <a:extLst>
                <a:ext uri="{FF2B5EF4-FFF2-40B4-BE49-F238E27FC236}">
                  <a16:creationId xmlns:a16="http://schemas.microsoft.com/office/drawing/2014/main" id="{9A355702-F22F-46CE-BF5E-86EAA75870AE}"/>
                </a:ext>
              </a:extLst>
            </p:cNvPr>
            <p:cNvSpPr>
              <a:spLocks/>
            </p:cNvSpPr>
            <p:nvPr/>
          </p:nvSpPr>
          <p:spPr bwMode="auto">
            <a:xfrm>
              <a:off x="7848600" y="8267700"/>
              <a:ext cx="1309688" cy="1538288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0" y="14623"/>
                  </a:moveTo>
                  <a:lnTo>
                    <a:pt x="7123" y="14623"/>
                  </a:lnTo>
                  <a:cubicBezTo>
                    <a:pt x="7400" y="16240"/>
                    <a:pt x="8279" y="17146"/>
                    <a:pt x="10870" y="17146"/>
                  </a:cubicBezTo>
                  <a:cubicBezTo>
                    <a:pt x="13089" y="17146"/>
                    <a:pt x="14154" y="16437"/>
                    <a:pt x="14154" y="15254"/>
                  </a:cubicBezTo>
                  <a:cubicBezTo>
                    <a:pt x="14154" y="14111"/>
                    <a:pt x="12858" y="13599"/>
                    <a:pt x="9482" y="13165"/>
                  </a:cubicBezTo>
                  <a:cubicBezTo>
                    <a:pt x="3053" y="12416"/>
                    <a:pt x="370" y="10840"/>
                    <a:pt x="370" y="6622"/>
                  </a:cubicBezTo>
                  <a:cubicBezTo>
                    <a:pt x="370" y="2168"/>
                    <a:pt x="5088" y="0"/>
                    <a:pt x="10453" y="0"/>
                  </a:cubicBezTo>
                  <a:cubicBezTo>
                    <a:pt x="16189" y="0"/>
                    <a:pt x="20305" y="1695"/>
                    <a:pt x="20860" y="6543"/>
                  </a:cubicBezTo>
                  <a:lnTo>
                    <a:pt x="13876" y="6543"/>
                  </a:lnTo>
                  <a:cubicBezTo>
                    <a:pt x="13552" y="5045"/>
                    <a:pt x="12581" y="4336"/>
                    <a:pt x="10546" y="4336"/>
                  </a:cubicBezTo>
                  <a:cubicBezTo>
                    <a:pt x="8603" y="4336"/>
                    <a:pt x="7539" y="5085"/>
                    <a:pt x="7539" y="6149"/>
                  </a:cubicBezTo>
                  <a:cubicBezTo>
                    <a:pt x="7539" y="7253"/>
                    <a:pt x="8649" y="7686"/>
                    <a:pt x="11841" y="8041"/>
                  </a:cubicBezTo>
                  <a:cubicBezTo>
                    <a:pt x="18316" y="8750"/>
                    <a:pt x="21600" y="10209"/>
                    <a:pt x="21600" y="14584"/>
                  </a:cubicBezTo>
                  <a:cubicBezTo>
                    <a:pt x="21600" y="19314"/>
                    <a:pt x="17484" y="21600"/>
                    <a:pt x="10916" y="21600"/>
                  </a:cubicBezTo>
                  <a:cubicBezTo>
                    <a:pt x="4163" y="21600"/>
                    <a:pt x="231" y="19117"/>
                    <a:pt x="0" y="14623"/>
                  </a:cubicBezTo>
                  <a:close/>
                  <a:moveTo>
                    <a:pt x="0" y="14623"/>
                  </a:move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34" name="AutoShape 51">
              <a:extLst>
                <a:ext uri="{FF2B5EF4-FFF2-40B4-BE49-F238E27FC236}">
                  <a16:creationId xmlns:a16="http://schemas.microsoft.com/office/drawing/2014/main" id="{C3791F09-B6CD-4F48-A889-8509A0F85B87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3300" y="11074400"/>
              <a:ext cx="1554163" cy="1998663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15011" y="8434"/>
                  </a:moveTo>
                  <a:lnTo>
                    <a:pt x="15011" y="8191"/>
                  </a:lnTo>
                  <a:cubicBezTo>
                    <a:pt x="15011" y="5248"/>
                    <a:pt x="13296" y="3823"/>
                    <a:pt x="10683" y="3823"/>
                  </a:cubicBezTo>
                  <a:cubicBezTo>
                    <a:pt x="7993" y="3823"/>
                    <a:pt x="6277" y="5309"/>
                    <a:pt x="6277" y="8161"/>
                  </a:cubicBezTo>
                  <a:lnTo>
                    <a:pt x="6277" y="8403"/>
                  </a:lnTo>
                  <a:cubicBezTo>
                    <a:pt x="6277" y="11286"/>
                    <a:pt x="7993" y="12741"/>
                    <a:pt x="10722" y="12741"/>
                  </a:cubicBezTo>
                  <a:cubicBezTo>
                    <a:pt x="13529" y="12741"/>
                    <a:pt x="15011" y="11225"/>
                    <a:pt x="15011" y="8434"/>
                  </a:cubicBezTo>
                  <a:close/>
                  <a:moveTo>
                    <a:pt x="0" y="395"/>
                  </a:moveTo>
                  <a:lnTo>
                    <a:pt x="6472" y="395"/>
                  </a:lnTo>
                  <a:lnTo>
                    <a:pt x="6472" y="2791"/>
                  </a:lnTo>
                  <a:cubicBezTo>
                    <a:pt x="7642" y="1274"/>
                    <a:pt x="9825" y="0"/>
                    <a:pt x="12906" y="0"/>
                  </a:cubicBezTo>
                  <a:cubicBezTo>
                    <a:pt x="17740" y="0"/>
                    <a:pt x="21600" y="2821"/>
                    <a:pt x="21600" y="8191"/>
                  </a:cubicBezTo>
                  <a:lnTo>
                    <a:pt x="21600" y="8434"/>
                  </a:lnTo>
                  <a:cubicBezTo>
                    <a:pt x="21600" y="13804"/>
                    <a:pt x="17779" y="16624"/>
                    <a:pt x="12866" y="16624"/>
                  </a:cubicBezTo>
                  <a:cubicBezTo>
                    <a:pt x="9747" y="16624"/>
                    <a:pt x="7525" y="15472"/>
                    <a:pt x="6472" y="13894"/>
                  </a:cubicBezTo>
                  <a:lnTo>
                    <a:pt x="6472" y="21600"/>
                  </a:lnTo>
                  <a:lnTo>
                    <a:pt x="0" y="21600"/>
                  </a:lnTo>
                  <a:cubicBezTo>
                    <a:pt x="0" y="21600"/>
                    <a:pt x="0" y="395"/>
                    <a:pt x="0" y="395"/>
                  </a:cubicBezTo>
                  <a:close/>
                  <a:moveTo>
                    <a:pt x="0" y="395"/>
                  </a:move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35" name="AutoShape 52">
              <a:extLst>
                <a:ext uri="{FF2B5EF4-FFF2-40B4-BE49-F238E27FC236}">
                  <a16:creationId xmlns:a16="http://schemas.microsoft.com/office/drawing/2014/main" id="{2E28320E-39D0-483C-B08D-791A2E887F03}"/>
                </a:ext>
              </a:extLst>
            </p:cNvPr>
            <p:cNvSpPr>
              <a:spLocks/>
            </p:cNvSpPr>
            <p:nvPr/>
          </p:nvSpPr>
          <p:spPr bwMode="auto">
            <a:xfrm>
              <a:off x="2654300" y="11074400"/>
              <a:ext cx="1582738" cy="1538288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15128" y="10958"/>
                  </a:moveTo>
                  <a:lnTo>
                    <a:pt x="15128" y="10643"/>
                  </a:lnTo>
                  <a:cubicBezTo>
                    <a:pt x="15128" y="7016"/>
                    <a:pt x="13596" y="4928"/>
                    <a:pt x="10838" y="4928"/>
                  </a:cubicBezTo>
                  <a:cubicBezTo>
                    <a:pt x="8042" y="4928"/>
                    <a:pt x="6472" y="6937"/>
                    <a:pt x="6472" y="10564"/>
                  </a:cubicBezTo>
                  <a:lnTo>
                    <a:pt x="6472" y="10879"/>
                  </a:lnTo>
                  <a:cubicBezTo>
                    <a:pt x="6472" y="14584"/>
                    <a:pt x="8004" y="16673"/>
                    <a:pt x="10838" y="16673"/>
                  </a:cubicBezTo>
                  <a:cubicBezTo>
                    <a:pt x="13596" y="16673"/>
                    <a:pt x="15128" y="14545"/>
                    <a:pt x="15128" y="10958"/>
                  </a:cubicBezTo>
                  <a:close/>
                  <a:moveTo>
                    <a:pt x="0" y="11076"/>
                  </a:moveTo>
                  <a:lnTo>
                    <a:pt x="0" y="10761"/>
                  </a:lnTo>
                  <a:cubicBezTo>
                    <a:pt x="0" y="4179"/>
                    <a:pt x="4672" y="0"/>
                    <a:pt x="10838" y="0"/>
                  </a:cubicBezTo>
                  <a:cubicBezTo>
                    <a:pt x="16927" y="0"/>
                    <a:pt x="21600" y="4060"/>
                    <a:pt x="21600" y="10564"/>
                  </a:cubicBezTo>
                  <a:lnTo>
                    <a:pt x="21600" y="10879"/>
                  </a:lnTo>
                  <a:cubicBezTo>
                    <a:pt x="21600" y="17541"/>
                    <a:pt x="16889" y="21600"/>
                    <a:pt x="10800" y="21600"/>
                  </a:cubicBezTo>
                  <a:cubicBezTo>
                    <a:pt x="4672" y="21600"/>
                    <a:pt x="0" y="17659"/>
                    <a:pt x="0" y="11076"/>
                  </a:cubicBezTo>
                  <a:close/>
                  <a:moveTo>
                    <a:pt x="0" y="11076"/>
                  </a:move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36" name="AutoShape 53">
              <a:extLst>
                <a:ext uri="{FF2B5EF4-FFF2-40B4-BE49-F238E27FC236}">
                  <a16:creationId xmlns:a16="http://schemas.microsoft.com/office/drawing/2014/main" id="{AE52347F-2AAD-4830-8501-138B095ACA86}"/>
                </a:ext>
              </a:extLst>
            </p:cNvPr>
            <p:cNvSpPr>
              <a:spLocks/>
            </p:cNvSpPr>
            <p:nvPr/>
          </p:nvSpPr>
          <p:spPr bwMode="auto">
            <a:xfrm>
              <a:off x="4305300" y="11074400"/>
              <a:ext cx="1309688" cy="1538288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0" y="14623"/>
                  </a:moveTo>
                  <a:lnTo>
                    <a:pt x="7123" y="14623"/>
                  </a:lnTo>
                  <a:cubicBezTo>
                    <a:pt x="7400" y="16240"/>
                    <a:pt x="8279" y="17146"/>
                    <a:pt x="10870" y="17146"/>
                  </a:cubicBezTo>
                  <a:cubicBezTo>
                    <a:pt x="13089" y="17146"/>
                    <a:pt x="14154" y="16437"/>
                    <a:pt x="14154" y="15254"/>
                  </a:cubicBezTo>
                  <a:cubicBezTo>
                    <a:pt x="14154" y="14111"/>
                    <a:pt x="12858" y="13599"/>
                    <a:pt x="9482" y="13165"/>
                  </a:cubicBezTo>
                  <a:cubicBezTo>
                    <a:pt x="3053" y="12416"/>
                    <a:pt x="370" y="10840"/>
                    <a:pt x="370" y="6622"/>
                  </a:cubicBezTo>
                  <a:cubicBezTo>
                    <a:pt x="370" y="2168"/>
                    <a:pt x="5088" y="0"/>
                    <a:pt x="10453" y="0"/>
                  </a:cubicBezTo>
                  <a:cubicBezTo>
                    <a:pt x="16189" y="0"/>
                    <a:pt x="20305" y="1695"/>
                    <a:pt x="20860" y="6543"/>
                  </a:cubicBezTo>
                  <a:lnTo>
                    <a:pt x="13876" y="6543"/>
                  </a:lnTo>
                  <a:cubicBezTo>
                    <a:pt x="13552" y="5045"/>
                    <a:pt x="12581" y="4336"/>
                    <a:pt x="10546" y="4336"/>
                  </a:cubicBezTo>
                  <a:cubicBezTo>
                    <a:pt x="8603" y="4336"/>
                    <a:pt x="7539" y="5085"/>
                    <a:pt x="7539" y="6149"/>
                  </a:cubicBezTo>
                  <a:cubicBezTo>
                    <a:pt x="7539" y="7253"/>
                    <a:pt x="8649" y="7687"/>
                    <a:pt x="11841" y="8041"/>
                  </a:cubicBezTo>
                  <a:cubicBezTo>
                    <a:pt x="18316" y="8750"/>
                    <a:pt x="21600" y="10209"/>
                    <a:pt x="21600" y="14584"/>
                  </a:cubicBezTo>
                  <a:cubicBezTo>
                    <a:pt x="21600" y="19314"/>
                    <a:pt x="17484" y="21600"/>
                    <a:pt x="10916" y="21600"/>
                  </a:cubicBezTo>
                  <a:cubicBezTo>
                    <a:pt x="4163" y="21600"/>
                    <a:pt x="232" y="19117"/>
                    <a:pt x="0" y="14623"/>
                  </a:cubicBezTo>
                  <a:close/>
                  <a:moveTo>
                    <a:pt x="0" y="14623"/>
                  </a:move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37" name="AutoShape 54">
              <a:extLst>
                <a:ext uri="{FF2B5EF4-FFF2-40B4-BE49-F238E27FC236}">
                  <a16:creationId xmlns:a16="http://schemas.microsoft.com/office/drawing/2014/main" id="{ED8C7A6B-BB0B-4719-A3E6-1F80FA551C6E}"/>
                </a:ext>
              </a:extLst>
            </p:cNvPr>
            <p:cNvSpPr>
              <a:spLocks/>
            </p:cNvSpPr>
            <p:nvPr/>
          </p:nvSpPr>
          <p:spPr bwMode="auto">
            <a:xfrm>
              <a:off x="5689600" y="11074400"/>
              <a:ext cx="1309688" cy="1538288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0" y="14623"/>
                  </a:moveTo>
                  <a:lnTo>
                    <a:pt x="7123" y="14623"/>
                  </a:lnTo>
                  <a:cubicBezTo>
                    <a:pt x="7400" y="16240"/>
                    <a:pt x="8279" y="17146"/>
                    <a:pt x="10870" y="17146"/>
                  </a:cubicBezTo>
                  <a:cubicBezTo>
                    <a:pt x="13089" y="17146"/>
                    <a:pt x="14154" y="16437"/>
                    <a:pt x="14154" y="15254"/>
                  </a:cubicBezTo>
                  <a:cubicBezTo>
                    <a:pt x="14154" y="14111"/>
                    <a:pt x="12858" y="13599"/>
                    <a:pt x="9482" y="13165"/>
                  </a:cubicBezTo>
                  <a:cubicBezTo>
                    <a:pt x="3053" y="12416"/>
                    <a:pt x="370" y="10840"/>
                    <a:pt x="370" y="6622"/>
                  </a:cubicBezTo>
                  <a:cubicBezTo>
                    <a:pt x="370" y="2168"/>
                    <a:pt x="5088" y="0"/>
                    <a:pt x="10453" y="0"/>
                  </a:cubicBezTo>
                  <a:cubicBezTo>
                    <a:pt x="16189" y="0"/>
                    <a:pt x="20305" y="1695"/>
                    <a:pt x="20860" y="6543"/>
                  </a:cubicBezTo>
                  <a:lnTo>
                    <a:pt x="13876" y="6543"/>
                  </a:lnTo>
                  <a:cubicBezTo>
                    <a:pt x="13552" y="5045"/>
                    <a:pt x="12581" y="4336"/>
                    <a:pt x="10546" y="4336"/>
                  </a:cubicBezTo>
                  <a:cubicBezTo>
                    <a:pt x="8603" y="4336"/>
                    <a:pt x="7539" y="5085"/>
                    <a:pt x="7539" y="6149"/>
                  </a:cubicBezTo>
                  <a:cubicBezTo>
                    <a:pt x="7539" y="7253"/>
                    <a:pt x="8649" y="7687"/>
                    <a:pt x="11841" y="8041"/>
                  </a:cubicBezTo>
                  <a:cubicBezTo>
                    <a:pt x="18316" y="8750"/>
                    <a:pt x="21600" y="10209"/>
                    <a:pt x="21600" y="14584"/>
                  </a:cubicBezTo>
                  <a:cubicBezTo>
                    <a:pt x="21600" y="19314"/>
                    <a:pt x="17484" y="21600"/>
                    <a:pt x="10916" y="21600"/>
                  </a:cubicBezTo>
                  <a:cubicBezTo>
                    <a:pt x="4163" y="21600"/>
                    <a:pt x="232" y="19117"/>
                    <a:pt x="0" y="14623"/>
                  </a:cubicBezTo>
                  <a:close/>
                  <a:moveTo>
                    <a:pt x="0" y="14623"/>
                  </a:move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38" name="AutoShape 55">
              <a:extLst>
                <a:ext uri="{FF2B5EF4-FFF2-40B4-BE49-F238E27FC236}">
                  <a16:creationId xmlns:a16="http://schemas.microsoft.com/office/drawing/2014/main" id="{CEC9E09E-089E-495F-882E-8CD32ACC4675}"/>
                </a:ext>
              </a:extLst>
            </p:cNvPr>
            <p:cNvSpPr>
              <a:spLocks/>
            </p:cNvSpPr>
            <p:nvPr/>
          </p:nvSpPr>
          <p:spPr bwMode="auto">
            <a:xfrm>
              <a:off x="7124700" y="10502900"/>
              <a:ext cx="519113" cy="2076450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1168" y="6334"/>
                  </a:moveTo>
                  <a:lnTo>
                    <a:pt x="20550" y="6334"/>
                  </a:lnTo>
                  <a:lnTo>
                    <a:pt x="20550" y="21600"/>
                  </a:lnTo>
                  <a:lnTo>
                    <a:pt x="1168" y="21600"/>
                  </a:lnTo>
                  <a:cubicBezTo>
                    <a:pt x="1168" y="21600"/>
                    <a:pt x="1168" y="6334"/>
                    <a:pt x="1168" y="6334"/>
                  </a:cubicBezTo>
                  <a:close/>
                  <a:moveTo>
                    <a:pt x="0" y="2569"/>
                  </a:moveTo>
                  <a:cubicBezTo>
                    <a:pt x="0" y="1109"/>
                    <a:pt x="4670" y="0"/>
                    <a:pt x="10741" y="0"/>
                  </a:cubicBezTo>
                  <a:cubicBezTo>
                    <a:pt x="16814" y="0"/>
                    <a:pt x="21600" y="1109"/>
                    <a:pt x="21600" y="2569"/>
                  </a:cubicBezTo>
                  <a:cubicBezTo>
                    <a:pt x="21600" y="4028"/>
                    <a:pt x="16814" y="5108"/>
                    <a:pt x="10741" y="5108"/>
                  </a:cubicBezTo>
                  <a:cubicBezTo>
                    <a:pt x="4670" y="5108"/>
                    <a:pt x="0" y="4028"/>
                    <a:pt x="0" y="2569"/>
                  </a:cubicBezTo>
                  <a:close/>
                  <a:moveTo>
                    <a:pt x="0" y="2569"/>
                  </a:move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39" name="AutoShape 56">
              <a:extLst>
                <a:ext uri="{FF2B5EF4-FFF2-40B4-BE49-F238E27FC236}">
                  <a16:creationId xmlns:a16="http://schemas.microsoft.com/office/drawing/2014/main" id="{76EEB1E9-F835-481F-9170-45BFAE382BAA}"/>
                </a:ext>
              </a:extLst>
            </p:cNvPr>
            <p:cNvSpPr>
              <a:spLocks/>
            </p:cNvSpPr>
            <p:nvPr/>
          </p:nvSpPr>
          <p:spPr bwMode="auto">
            <a:xfrm>
              <a:off x="7848600" y="10515600"/>
              <a:ext cx="1554163" cy="2097088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15011" y="13793"/>
                  </a:moveTo>
                  <a:lnTo>
                    <a:pt x="15011" y="13562"/>
                  </a:lnTo>
                  <a:cubicBezTo>
                    <a:pt x="15011" y="10757"/>
                    <a:pt x="13295" y="9398"/>
                    <a:pt x="10683" y="9398"/>
                  </a:cubicBezTo>
                  <a:cubicBezTo>
                    <a:pt x="7993" y="9398"/>
                    <a:pt x="6277" y="10815"/>
                    <a:pt x="6277" y="13533"/>
                  </a:cubicBezTo>
                  <a:lnTo>
                    <a:pt x="6277" y="13764"/>
                  </a:lnTo>
                  <a:cubicBezTo>
                    <a:pt x="6277" y="16511"/>
                    <a:pt x="7993" y="17899"/>
                    <a:pt x="10722" y="17899"/>
                  </a:cubicBezTo>
                  <a:cubicBezTo>
                    <a:pt x="13529" y="17899"/>
                    <a:pt x="15011" y="16453"/>
                    <a:pt x="15011" y="13793"/>
                  </a:cubicBezTo>
                  <a:close/>
                  <a:moveTo>
                    <a:pt x="6472" y="18882"/>
                  </a:moveTo>
                  <a:lnTo>
                    <a:pt x="6472" y="21253"/>
                  </a:lnTo>
                  <a:lnTo>
                    <a:pt x="0" y="21253"/>
                  </a:lnTo>
                  <a:lnTo>
                    <a:pt x="0" y="0"/>
                  </a:lnTo>
                  <a:lnTo>
                    <a:pt x="6472" y="0"/>
                  </a:lnTo>
                  <a:lnTo>
                    <a:pt x="6472" y="8415"/>
                  </a:lnTo>
                  <a:cubicBezTo>
                    <a:pt x="7642" y="6969"/>
                    <a:pt x="9825" y="5754"/>
                    <a:pt x="12906" y="5754"/>
                  </a:cubicBezTo>
                  <a:cubicBezTo>
                    <a:pt x="17740" y="5754"/>
                    <a:pt x="21600" y="8443"/>
                    <a:pt x="21600" y="13562"/>
                  </a:cubicBezTo>
                  <a:lnTo>
                    <a:pt x="21600" y="13793"/>
                  </a:lnTo>
                  <a:cubicBezTo>
                    <a:pt x="21600" y="18911"/>
                    <a:pt x="17779" y="21600"/>
                    <a:pt x="12866" y="21600"/>
                  </a:cubicBezTo>
                  <a:cubicBezTo>
                    <a:pt x="9786" y="21600"/>
                    <a:pt x="7525" y="20502"/>
                    <a:pt x="6472" y="18882"/>
                  </a:cubicBezTo>
                  <a:close/>
                  <a:moveTo>
                    <a:pt x="6472" y="18882"/>
                  </a:move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40" name="AutoShape 57">
              <a:extLst>
                <a:ext uri="{FF2B5EF4-FFF2-40B4-BE49-F238E27FC236}">
                  <a16:creationId xmlns:a16="http://schemas.microsoft.com/office/drawing/2014/main" id="{1FA17B61-02F5-4843-A14A-D33719E5CF01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5800" y="10515600"/>
              <a:ext cx="461963" cy="2062163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0" y="0"/>
                  </a:moveTo>
                  <a:lnTo>
                    <a:pt x="21600" y="0"/>
                  </a:lnTo>
                  <a:lnTo>
                    <a:pt x="21600" y="21600"/>
                  </a:lnTo>
                  <a:lnTo>
                    <a:pt x="0" y="21600"/>
                  </a:lnTo>
                  <a:cubicBezTo>
                    <a:pt x="0" y="21600"/>
                    <a:pt x="0" y="0"/>
                    <a:pt x="0" y="0"/>
                  </a:cubicBezTo>
                  <a:close/>
                  <a:moveTo>
                    <a:pt x="0" y="0"/>
                  </a:move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41" name="AutoShape 58">
              <a:extLst>
                <a:ext uri="{FF2B5EF4-FFF2-40B4-BE49-F238E27FC236}">
                  <a16:creationId xmlns:a16="http://schemas.microsoft.com/office/drawing/2014/main" id="{D7AF6792-2F4E-48DF-B827-190D9D1EE487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98100" y="11074400"/>
              <a:ext cx="1512888" cy="1538288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15108" y="8514"/>
                  </a:moveTo>
                  <a:cubicBezTo>
                    <a:pt x="14988" y="5794"/>
                    <a:pt x="13585" y="4376"/>
                    <a:pt x="11100" y="4376"/>
                  </a:cubicBezTo>
                  <a:cubicBezTo>
                    <a:pt x="8776" y="4376"/>
                    <a:pt x="7213" y="5873"/>
                    <a:pt x="6813" y="8514"/>
                  </a:cubicBezTo>
                  <a:cubicBezTo>
                    <a:pt x="6813" y="8514"/>
                    <a:pt x="15108" y="8514"/>
                    <a:pt x="15108" y="8514"/>
                  </a:cubicBezTo>
                  <a:close/>
                  <a:moveTo>
                    <a:pt x="0" y="11076"/>
                  </a:moveTo>
                  <a:lnTo>
                    <a:pt x="0" y="10761"/>
                  </a:lnTo>
                  <a:cubicBezTo>
                    <a:pt x="0" y="4179"/>
                    <a:pt x="4849" y="0"/>
                    <a:pt x="11100" y="0"/>
                  </a:cubicBezTo>
                  <a:cubicBezTo>
                    <a:pt x="16711" y="0"/>
                    <a:pt x="21600" y="3153"/>
                    <a:pt x="21600" y="10564"/>
                  </a:cubicBezTo>
                  <a:lnTo>
                    <a:pt x="21600" y="12338"/>
                  </a:lnTo>
                  <a:lnTo>
                    <a:pt x="6732" y="12338"/>
                  </a:lnTo>
                  <a:cubicBezTo>
                    <a:pt x="6933" y="15294"/>
                    <a:pt x="8616" y="17028"/>
                    <a:pt x="11421" y="17028"/>
                  </a:cubicBezTo>
                  <a:cubicBezTo>
                    <a:pt x="13906" y="17028"/>
                    <a:pt x="15028" y="15963"/>
                    <a:pt x="15308" y="14426"/>
                  </a:cubicBezTo>
                  <a:lnTo>
                    <a:pt x="21600" y="14426"/>
                  </a:lnTo>
                  <a:cubicBezTo>
                    <a:pt x="20919" y="18999"/>
                    <a:pt x="17312" y="21600"/>
                    <a:pt x="11181" y="21600"/>
                  </a:cubicBezTo>
                  <a:cubicBezTo>
                    <a:pt x="4729" y="21600"/>
                    <a:pt x="0" y="17738"/>
                    <a:pt x="0" y="11076"/>
                  </a:cubicBezTo>
                  <a:close/>
                  <a:moveTo>
                    <a:pt x="0" y="11076"/>
                  </a:move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42" name="AutoShape 59">
              <a:extLst>
                <a:ext uri="{FF2B5EF4-FFF2-40B4-BE49-F238E27FC236}">
                  <a16:creationId xmlns:a16="http://schemas.microsoft.com/office/drawing/2014/main" id="{58DCE6A4-7734-42E5-9B2A-2A39F1D2CCD3}"/>
                </a:ext>
              </a:extLst>
            </p:cNvPr>
            <p:cNvSpPr>
              <a:spLocks/>
            </p:cNvSpPr>
            <p:nvPr/>
          </p:nvSpPr>
          <p:spPr bwMode="auto">
            <a:xfrm>
              <a:off x="11836400" y="12077700"/>
              <a:ext cx="549275" cy="538163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0" y="10801"/>
                  </a:moveTo>
                  <a:cubicBezTo>
                    <a:pt x="0" y="4838"/>
                    <a:pt x="4519" y="0"/>
                    <a:pt x="10690" y="0"/>
                  </a:cubicBezTo>
                  <a:cubicBezTo>
                    <a:pt x="16972" y="0"/>
                    <a:pt x="21600" y="4838"/>
                    <a:pt x="21600" y="10801"/>
                  </a:cubicBezTo>
                  <a:cubicBezTo>
                    <a:pt x="21600" y="16762"/>
                    <a:pt x="16972" y="21600"/>
                    <a:pt x="10690" y="21600"/>
                  </a:cubicBezTo>
                  <a:cubicBezTo>
                    <a:pt x="4519" y="21600"/>
                    <a:pt x="0" y="16762"/>
                    <a:pt x="0" y="10801"/>
                  </a:cubicBezTo>
                  <a:close/>
                  <a:moveTo>
                    <a:pt x="0" y="10801"/>
                  </a:move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43" name="AutoShape 60">
              <a:extLst>
                <a:ext uri="{FF2B5EF4-FFF2-40B4-BE49-F238E27FC236}">
                  <a16:creationId xmlns:a16="http://schemas.microsoft.com/office/drawing/2014/main" id="{B35304AA-E820-4F74-8DA7-DD0C368142E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836400" y="11074400"/>
              <a:ext cx="373063" cy="187325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10379" y="0"/>
                  </a:moveTo>
                  <a:lnTo>
                    <a:pt x="12973" y="0"/>
                  </a:lnTo>
                  <a:lnTo>
                    <a:pt x="16009" y="15160"/>
                  </a:lnTo>
                  <a:lnTo>
                    <a:pt x="18972" y="0"/>
                  </a:lnTo>
                  <a:lnTo>
                    <a:pt x="21600" y="0"/>
                  </a:lnTo>
                  <a:lnTo>
                    <a:pt x="21600" y="21600"/>
                  </a:lnTo>
                  <a:lnTo>
                    <a:pt x="19715" y="21600"/>
                  </a:lnTo>
                  <a:lnTo>
                    <a:pt x="19715" y="4759"/>
                  </a:lnTo>
                  <a:lnTo>
                    <a:pt x="16243" y="21600"/>
                  </a:lnTo>
                  <a:lnTo>
                    <a:pt x="15604" y="21600"/>
                  </a:lnTo>
                  <a:lnTo>
                    <a:pt x="12097" y="4759"/>
                  </a:lnTo>
                  <a:lnTo>
                    <a:pt x="12097" y="21600"/>
                  </a:lnTo>
                  <a:lnTo>
                    <a:pt x="10379" y="21600"/>
                  </a:lnTo>
                  <a:cubicBezTo>
                    <a:pt x="10379" y="21600"/>
                    <a:pt x="10379" y="0"/>
                    <a:pt x="10379" y="0"/>
                  </a:cubicBezTo>
                  <a:close/>
                  <a:moveTo>
                    <a:pt x="3302" y="2953"/>
                  </a:moveTo>
                  <a:lnTo>
                    <a:pt x="0" y="2953"/>
                  </a:lnTo>
                  <a:lnTo>
                    <a:pt x="0" y="0"/>
                  </a:lnTo>
                  <a:lnTo>
                    <a:pt x="8460" y="0"/>
                  </a:lnTo>
                  <a:lnTo>
                    <a:pt x="8460" y="2953"/>
                  </a:lnTo>
                  <a:lnTo>
                    <a:pt x="5190" y="2953"/>
                  </a:lnTo>
                  <a:lnTo>
                    <a:pt x="5190" y="21600"/>
                  </a:lnTo>
                  <a:lnTo>
                    <a:pt x="3302" y="21600"/>
                  </a:lnTo>
                  <a:cubicBezTo>
                    <a:pt x="3302" y="21600"/>
                    <a:pt x="3302" y="2953"/>
                    <a:pt x="3302" y="2953"/>
                  </a:cubicBezTo>
                  <a:close/>
                  <a:moveTo>
                    <a:pt x="3302" y="2953"/>
                  </a:move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</p:grpSp>
      <p:cxnSp>
        <p:nvCxnSpPr>
          <p:cNvPr id="47" name="Straight Connector 46">
            <a:extLst>
              <a:ext uri="{FF2B5EF4-FFF2-40B4-BE49-F238E27FC236}">
                <a16:creationId xmlns:a16="http://schemas.microsoft.com/office/drawing/2014/main" id="{9EA166A3-BDB1-4B4C-A691-0975E59F913D}"/>
              </a:ext>
            </a:extLst>
          </p:cNvPr>
          <p:cNvCxnSpPr>
            <a:cxnSpLocks/>
          </p:cNvCxnSpPr>
          <p:nvPr userDrawn="1"/>
        </p:nvCxnSpPr>
        <p:spPr>
          <a:xfrm>
            <a:off x="202791" y="6584457"/>
            <a:ext cx="11810139" cy="0"/>
          </a:xfrm>
          <a:prstGeom prst="line">
            <a:avLst/>
          </a:prstGeom>
          <a:ln w="158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Footer Placeholder 50">
            <a:extLst>
              <a:ext uri="{FF2B5EF4-FFF2-40B4-BE49-F238E27FC236}">
                <a16:creationId xmlns:a16="http://schemas.microsoft.com/office/drawing/2014/main" id="{BED14AAE-4404-46FE-A0CF-252B50AD308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SAMPLE FOOTER TEXT</a:t>
            </a:r>
          </a:p>
        </p:txBody>
      </p:sp>
      <p:sp>
        <p:nvSpPr>
          <p:cNvPr id="52" name="Slide Number Placeholder 51">
            <a:extLst>
              <a:ext uri="{FF2B5EF4-FFF2-40B4-BE49-F238E27FC236}">
                <a16:creationId xmlns:a16="http://schemas.microsoft.com/office/drawing/2014/main" id="{0A6D4D00-F599-4B2E-831F-5E94FEDB3EF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8C09DA5-8C43-4702-8900-F4900F7A89A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5" name="Text Placeholder 18">
            <a:extLst>
              <a:ext uri="{FF2B5EF4-FFF2-40B4-BE49-F238E27FC236}">
                <a16:creationId xmlns:a16="http://schemas.microsoft.com/office/drawing/2014/main" id="{3D6A9FB1-A960-4D28-8782-350767C17841}"/>
              </a:ext>
            </a:extLst>
          </p:cNvPr>
          <p:cNvSpPr txBox="1">
            <a:spLocks/>
          </p:cNvSpPr>
          <p:nvPr userDrawn="1"/>
        </p:nvSpPr>
        <p:spPr>
          <a:xfrm>
            <a:off x="202791" y="6644501"/>
            <a:ext cx="7113587" cy="148983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defPPr>
              <a:defRPr lang="en-US"/>
            </a:defPPr>
            <a:lvl1pPr>
              <a:defRPr sz="600" cap="all" baseline="0"/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en-US" sz="700" b="1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</a:rPr>
              <a:t>BEST BUY  </a:t>
            </a:r>
            <a:r>
              <a:rPr lang="en-US" sz="70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</a:rPr>
              <a:t>INTERNAL USE ONLY. DO NOT COPY, PUBLISH OR DISTRIBUTE. THE MATERIAL IN THIS DOCUMENT IS CONFIDENTIAL TO BEST BUY.</a:t>
            </a:r>
          </a:p>
        </p:txBody>
      </p:sp>
      <p:sp>
        <p:nvSpPr>
          <p:cNvPr id="44" name="Title 1">
            <a:extLst>
              <a:ext uri="{FF2B5EF4-FFF2-40B4-BE49-F238E27FC236}">
                <a16:creationId xmlns:a16="http://schemas.microsoft.com/office/drawing/2014/main" id="{0146603E-19A9-4A14-9A3C-CF0E76561E0B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843018" y="3509516"/>
            <a:ext cx="10908337" cy="886397"/>
          </a:xfrm>
          <a:noFill/>
        </p:spPr>
        <p:txBody>
          <a:bodyPr vert="horz" lIns="0" tIns="0" rIns="0" bIns="0" rtlCol="0" anchor="ctr" anchorCtr="0">
            <a:spAutoFit/>
          </a:bodyPr>
          <a:lstStyle>
            <a:lvl1pPr>
              <a:defRPr lang="en-US" sz="7200" dirty="0"/>
            </a:lvl1pPr>
          </a:lstStyle>
          <a:p>
            <a:pPr lvl="0"/>
            <a:r>
              <a:rPr lang="en-US"/>
              <a:t>Click to edit Name or Title</a:t>
            </a:r>
          </a:p>
        </p:txBody>
      </p:sp>
      <p:pic>
        <p:nvPicPr>
          <p:cNvPr id="45" name="Graphic 44">
            <a:extLst>
              <a:ext uri="{FF2B5EF4-FFF2-40B4-BE49-F238E27FC236}">
                <a16:creationId xmlns:a16="http://schemas.microsoft.com/office/drawing/2014/main" id="{DC6A7E89-F63F-40C2-A449-5A6913D1015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31044" y="6187411"/>
            <a:ext cx="560538" cy="3279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344492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Yellow Thank You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BBD98BE-DF4A-4FBD-95F7-4C806A8E789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38200" y="1964187"/>
            <a:ext cx="11010900" cy="2929626"/>
          </a:xfrm>
          <a:noFill/>
        </p:spPr>
        <p:txBody>
          <a:bodyPr vert="horz" lIns="0" tIns="0" rIns="0" bIns="0" rtlCol="0" anchor="ctr" anchorCtr="0">
            <a:noAutofit/>
          </a:bodyPr>
          <a:lstStyle>
            <a:lvl1pPr>
              <a:defRPr lang="en-US" sz="7200" dirty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2F1C7B1-FF0B-432E-BEF3-A4F425D4006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SAMPLE FOOTER TEXT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70F4816-1E8E-4305-A4AD-CECB45FDF2F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3C2137ED-1B02-4691-A6FA-8A4730C71FAC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Text Placeholder 18">
            <a:extLst>
              <a:ext uri="{FF2B5EF4-FFF2-40B4-BE49-F238E27FC236}">
                <a16:creationId xmlns:a16="http://schemas.microsoft.com/office/drawing/2014/main" id="{576C6D25-0DF0-41A6-AA78-37B0806066E8}"/>
              </a:ext>
            </a:extLst>
          </p:cNvPr>
          <p:cNvSpPr txBox="1">
            <a:spLocks/>
          </p:cNvSpPr>
          <p:nvPr userDrawn="1"/>
        </p:nvSpPr>
        <p:spPr>
          <a:xfrm>
            <a:off x="202791" y="6644501"/>
            <a:ext cx="7113587" cy="148983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defPPr>
              <a:defRPr lang="en-US"/>
            </a:defPPr>
            <a:lvl1pPr>
              <a:defRPr sz="600" cap="all" baseline="0"/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en-US" sz="700" b="1">
                <a:ln>
                  <a:noFill/>
                </a:ln>
                <a:solidFill>
                  <a:schemeClr val="bg1"/>
                </a:solidFill>
              </a:rPr>
              <a:t>BEST BUY  </a:t>
            </a:r>
            <a:r>
              <a:rPr lang="en-US" sz="700">
                <a:ln>
                  <a:noFill/>
                </a:ln>
                <a:solidFill>
                  <a:schemeClr val="bg1"/>
                </a:solidFill>
              </a:rPr>
              <a:t>INTERNAL USE ONLY. DO NOT COPY, PUBLISH OR DISTRIBUTE. THE MATERIAL IN THIS DOCUMENT IS CONFIDENTIAL TO BEST BUY.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E04A06DF-E16B-4385-8FBD-AB36FB62836C}"/>
              </a:ext>
            </a:extLst>
          </p:cNvPr>
          <p:cNvCxnSpPr>
            <a:cxnSpLocks/>
          </p:cNvCxnSpPr>
          <p:nvPr userDrawn="1"/>
        </p:nvCxnSpPr>
        <p:spPr>
          <a:xfrm>
            <a:off x="195591" y="6577782"/>
            <a:ext cx="11830342" cy="0"/>
          </a:xfrm>
          <a:prstGeom prst="line">
            <a:avLst/>
          </a:prstGeom>
          <a:ln w="158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Graphic 11">
            <a:extLst>
              <a:ext uri="{FF2B5EF4-FFF2-40B4-BE49-F238E27FC236}">
                <a16:creationId xmlns:a16="http://schemas.microsoft.com/office/drawing/2014/main" id="{F2AB75F2-674F-4F9C-89AD-6B1B501A303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08184" y="6199285"/>
            <a:ext cx="560538" cy="3274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445692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BBD98BE-DF4A-4FBD-95F7-4C806A8E789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844844" y="3290059"/>
            <a:ext cx="10974911" cy="886397"/>
          </a:xfrm>
          <a:noFill/>
        </p:spPr>
        <p:txBody>
          <a:bodyPr vert="horz" wrap="square" lIns="0" tIns="0" rIns="0" bIns="0" rtlCol="0" anchor="b" anchorCtr="0">
            <a:spAutoFit/>
          </a:bodyPr>
          <a:lstStyle>
            <a:lvl1pPr>
              <a:defRPr lang="en-US" sz="7200" dirty="0"/>
            </a:lvl1pPr>
          </a:lstStyle>
          <a:p>
            <a:pPr lvl="0"/>
            <a:r>
              <a:rPr lang="en-US"/>
              <a:t>Click to edit Name or Tit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8FE3FAE-C8B8-455E-8BE0-525D37C1962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844775" y="4082583"/>
            <a:ext cx="10986296" cy="443198"/>
          </a:xfrm>
        </p:spPr>
        <p:txBody>
          <a:bodyPr vert="horz" wrap="square" lIns="0" tIns="0" rIns="0" bIns="0" rtlCol="0">
            <a:spAutoFit/>
          </a:bodyPr>
          <a:lstStyle>
            <a:lvl1pPr marL="27432" indent="0">
              <a:spcBef>
                <a:spcPts val="0"/>
              </a:spcBef>
              <a:buNone/>
              <a:defRPr lang="en-US" sz="3200" dirty="0">
                <a:solidFill>
                  <a:schemeClr val="accent1"/>
                </a:solidFill>
              </a:defRPr>
            </a:lvl1pPr>
          </a:lstStyle>
          <a:p>
            <a:pPr marL="484632" lvl="0" indent="-457200"/>
            <a:r>
              <a:rPr lang="en-US"/>
              <a:t>Click to edit Subtitle</a:t>
            </a:r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BC8E2C0F-ECA0-4807-B00F-78E70D4F1B4C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0657942" y="313144"/>
            <a:ext cx="1229707" cy="1055281"/>
            <a:chOff x="874713" y="2133600"/>
            <a:chExt cx="12747625" cy="10939463"/>
          </a:xfrm>
          <a:solidFill>
            <a:schemeClr val="tx1"/>
          </a:solidFill>
        </p:grpSpPr>
        <p:sp>
          <p:nvSpPr>
            <p:cNvPr id="14" name="AutoShape 31">
              <a:extLst>
                <a:ext uri="{FF2B5EF4-FFF2-40B4-BE49-F238E27FC236}">
                  <a16:creationId xmlns:a16="http://schemas.microsoft.com/office/drawing/2014/main" id="{3A2C9544-B5F6-44D1-A739-F3B6866CD754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4100" y="2159000"/>
              <a:ext cx="1309688" cy="2006600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0" y="0"/>
                  </a:moveTo>
                  <a:lnTo>
                    <a:pt x="8788" y="0"/>
                  </a:lnTo>
                  <a:lnTo>
                    <a:pt x="8788" y="17159"/>
                  </a:lnTo>
                  <a:lnTo>
                    <a:pt x="21600" y="17159"/>
                  </a:lnTo>
                  <a:lnTo>
                    <a:pt x="21600" y="21600"/>
                  </a:lnTo>
                  <a:lnTo>
                    <a:pt x="0" y="21600"/>
                  </a:lnTo>
                  <a:cubicBezTo>
                    <a:pt x="0" y="21600"/>
                    <a:pt x="0" y="0"/>
                    <a:pt x="0" y="0"/>
                  </a:cubicBezTo>
                  <a:close/>
                  <a:moveTo>
                    <a:pt x="0" y="0"/>
                  </a:move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5" name="AutoShape 32">
              <a:extLst>
                <a:ext uri="{FF2B5EF4-FFF2-40B4-BE49-F238E27FC236}">
                  <a16:creationId xmlns:a16="http://schemas.microsoft.com/office/drawing/2014/main" id="{39C0AD25-3E15-4E5F-8632-934DF97B63BA}"/>
                </a:ext>
              </a:extLst>
            </p:cNvPr>
            <p:cNvSpPr>
              <a:spLocks/>
            </p:cNvSpPr>
            <p:nvPr/>
          </p:nvSpPr>
          <p:spPr bwMode="auto">
            <a:xfrm>
              <a:off x="2425700" y="2654300"/>
              <a:ext cx="1512888" cy="1538288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15108" y="8514"/>
                  </a:moveTo>
                  <a:cubicBezTo>
                    <a:pt x="14988" y="5794"/>
                    <a:pt x="13585" y="4375"/>
                    <a:pt x="11100" y="4375"/>
                  </a:cubicBezTo>
                  <a:cubicBezTo>
                    <a:pt x="8776" y="4375"/>
                    <a:pt x="7213" y="5873"/>
                    <a:pt x="6813" y="8514"/>
                  </a:cubicBezTo>
                  <a:cubicBezTo>
                    <a:pt x="6813" y="8514"/>
                    <a:pt x="15108" y="8514"/>
                    <a:pt x="15108" y="8514"/>
                  </a:cubicBezTo>
                  <a:close/>
                  <a:moveTo>
                    <a:pt x="0" y="11076"/>
                  </a:moveTo>
                  <a:lnTo>
                    <a:pt x="0" y="10761"/>
                  </a:lnTo>
                  <a:cubicBezTo>
                    <a:pt x="0" y="4178"/>
                    <a:pt x="4849" y="0"/>
                    <a:pt x="11100" y="0"/>
                  </a:cubicBezTo>
                  <a:cubicBezTo>
                    <a:pt x="16711" y="0"/>
                    <a:pt x="21600" y="3153"/>
                    <a:pt x="21600" y="10563"/>
                  </a:cubicBezTo>
                  <a:lnTo>
                    <a:pt x="21600" y="12337"/>
                  </a:lnTo>
                  <a:lnTo>
                    <a:pt x="6732" y="12337"/>
                  </a:lnTo>
                  <a:cubicBezTo>
                    <a:pt x="6933" y="15293"/>
                    <a:pt x="8616" y="17028"/>
                    <a:pt x="11421" y="17028"/>
                  </a:cubicBezTo>
                  <a:cubicBezTo>
                    <a:pt x="13906" y="17028"/>
                    <a:pt x="15028" y="15964"/>
                    <a:pt x="15308" y="14426"/>
                  </a:cubicBezTo>
                  <a:lnTo>
                    <a:pt x="21600" y="14426"/>
                  </a:lnTo>
                  <a:cubicBezTo>
                    <a:pt x="20919" y="18998"/>
                    <a:pt x="17312" y="21600"/>
                    <a:pt x="11181" y="21600"/>
                  </a:cubicBezTo>
                  <a:cubicBezTo>
                    <a:pt x="4729" y="21600"/>
                    <a:pt x="0" y="17737"/>
                    <a:pt x="0" y="11076"/>
                  </a:cubicBezTo>
                  <a:close/>
                  <a:moveTo>
                    <a:pt x="0" y="11076"/>
                  </a:move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6" name="AutoShape 33">
              <a:extLst>
                <a:ext uri="{FF2B5EF4-FFF2-40B4-BE49-F238E27FC236}">
                  <a16:creationId xmlns:a16="http://schemas.microsoft.com/office/drawing/2014/main" id="{D82991FA-1A0F-4FF4-A1EB-32AB6FEDCF98}"/>
                </a:ext>
              </a:extLst>
            </p:cNvPr>
            <p:cNvSpPr>
              <a:spLocks/>
            </p:cNvSpPr>
            <p:nvPr/>
          </p:nvSpPr>
          <p:spPr bwMode="auto">
            <a:xfrm>
              <a:off x="3962400" y="2387600"/>
              <a:ext cx="947738" cy="1808163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4090" y="15764"/>
                  </a:moveTo>
                  <a:lnTo>
                    <a:pt x="4090" y="7547"/>
                  </a:lnTo>
                  <a:lnTo>
                    <a:pt x="0" y="7547"/>
                  </a:lnTo>
                  <a:lnTo>
                    <a:pt x="0" y="3690"/>
                  </a:lnTo>
                  <a:lnTo>
                    <a:pt x="4090" y="3690"/>
                  </a:lnTo>
                  <a:lnTo>
                    <a:pt x="4090" y="0"/>
                  </a:lnTo>
                  <a:lnTo>
                    <a:pt x="14698" y="0"/>
                  </a:lnTo>
                  <a:lnTo>
                    <a:pt x="14698" y="3690"/>
                  </a:lnTo>
                  <a:lnTo>
                    <a:pt x="21472" y="3690"/>
                  </a:lnTo>
                  <a:lnTo>
                    <a:pt x="21472" y="7547"/>
                  </a:lnTo>
                  <a:lnTo>
                    <a:pt x="14698" y="7547"/>
                  </a:lnTo>
                  <a:lnTo>
                    <a:pt x="14698" y="15227"/>
                  </a:lnTo>
                  <a:cubicBezTo>
                    <a:pt x="14698" y="16569"/>
                    <a:pt x="15976" y="17173"/>
                    <a:pt x="18213" y="17173"/>
                  </a:cubicBezTo>
                  <a:cubicBezTo>
                    <a:pt x="19555" y="17173"/>
                    <a:pt x="20514" y="17072"/>
                    <a:pt x="21600" y="16871"/>
                  </a:cubicBezTo>
                  <a:lnTo>
                    <a:pt x="21600" y="21131"/>
                  </a:lnTo>
                  <a:cubicBezTo>
                    <a:pt x="20130" y="21332"/>
                    <a:pt x="18085" y="21600"/>
                    <a:pt x="15465" y="21600"/>
                  </a:cubicBezTo>
                  <a:cubicBezTo>
                    <a:pt x="8180" y="21600"/>
                    <a:pt x="4090" y="19688"/>
                    <a:pt x="4090" y="15764"/>
                  </a:cubicBezTo>
                  <a:close/>
                  <a:moveTo>
                    <a:pt x="4090" y="15764"/>
                  </a:move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7" name="AutoShape 34">
              <a:extLst>
                <a:ext uri="{FF2B5EF4-FFF2-40B4-BE49-F238E27FC236}">
                  <a16:creationId xmlns:a16="http://schemas.microsoft.com/office/drawing/2014/main" id="{B8E9BDF1-2AD5-41B9-A5FB-BF49EA7FCCDC}"/>
                </a:ext>
              </a:extLst>
            </p:cNvPr>
            <p:cNvSpPr>
              <a:spLocks/>
            </p:cNvSpPr>
            <p:nvPr/>
          </p:nvSpPr>
          <p:spPr bwMode="auto">
            <a:xfrm>
              <a:off x="5054600" y="2133600"/>
              <a:ext cx="512763" cy="800100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944" y="16598"/>
                  </a:moveTo>
                  <a:cubicBezTo>
                    <a:pt x="6374" y="15764"/>
                    <a:pt x="8852" y="13642"/>
                    <a:pt x="9442" y="11748"/>
                  </a:cubicBezTo>
                  <a:cubicBezTo>
                    <a:pt x="3423" y="11520"/>
                    <a:pt x="0" y="9322"/>
                    <a:pt x="0" y="5911"/>
                  </a:cubicBezTo>
                  <a:cubicBezTo>
                    <a:pt x="0" y="2197"/>
                    <a:pt x="4721" y="0"/>
                    <a:pt x="10387" y="0"/>
                  </a:cubicBezTo>
                  <a:cubicBezTo>
                    <a:pt x="16879" y="0"/>
                    <a:pt x="21600" y="2956"/>
                    <a:pt x="21600" y="7655"/>
                  </a:cubicBezTo>
                  <a:lnTo>
                    <a:pt x="21600" y="8186"/>
                  </a:lnTo>
                  <a:cubicBezTo>
                    <a:pt x="21600" y="14855"/>
                    <a:pt x="14636" y="20236"/>
                    <a:pt x="944" y="21600"/>
                  </a:cubicBezTo>
                  <a:cubicBezTo>
                    <a:pt x="944" y="21600"/>
                    <a:pt x="944" y="16598"/>
                    <a:pt x="944" y="16598"/>
                  </a:cubicBezTo>
                  <a:close/>
                  <a:moveTo>
                    <a:pt x="944" y="16598"/>
                  </a:move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8" name="AutoShape 35">
              <a:extLst>
                <a:ext uri="{FF2B5EF4-FFF2-40B4-BE49-F238E27FC236}">
                  <a16:creationId xmlns:a16="http://schemas.microsoft.com/office/drawing/2014/main" id="{CCE48EE1-A0AD-43F9-B1A6-7A2043E4186F}"/>
                </a:ext>
              </a:extLst>
            </p:cNvPr>
            <p:cNvSpPr>
              <a:spLocks/>
            </p:cNvSpPr>
            <p:nvPr/>
          </p:nvSpPr>
          <p:spPr bwMode="auto">
            <a:xfrm>
              <a:off x="5511800" y="2654300"/>
              <a:ext cx="1309688" cy="1538288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0" y="14623"/>
                  </a:moveTo>
                  <a:lnTo>
                    <a:pt x="7123" y="14623"/>
                  </a:lnTo>
                  <a:cubicBezTo>
                    <a:pt x="7400" y="16240"/>
                    <a:pt x="8279" y="17146"/>
                    <a:pt x="10870" y="17146"/>
                  </a:cubicBezTo>
                  <a:cubicBezTo>
                    <a:pt x="13089" y="17146"/>
                    <a:pt x="14154" y="16437"/>
                    <a:pt x="14154" y="15254"/>
                  </a:cubicBezTo>
                  <a:cubicBezTo>
                    <a:pt x="14154" y="14111"/>
                    <a:pt x="12858" y="13598"/>
                    <a:pt x="9482" y="13165"/>
                  </a:cubicBezTo>
                  <a:cubicBezTo>
                    <a:pt x="3053" y="12416"/>
                    <a:pt x="370" y="10839"/>
                    <a:pt x="370" y="6622"/>
                  </a:cubicBezTo>
                  <a:cubicBezTo>
                    <a:pt x="370" y="2168"/>
                    <a:pt x="5088" y="0"/>
                    <a:pt x="10453" y="0"/>
                  </a:cubicBezTo>
                  <a:cubicBezTo>
                    <a:pt x="16189" y="0"/>
                    <a:pt x="20305" y="1695"/>
                    <a:pt x="20860" y="6543"/>
                  </a:cubicBezTo>
                  <a:lnTo>
                    <a:pt x="13876" y="6543"/>
                  </a:lnTo>
                  <a:cubicBezTo>
                    <a:pt x="13552" y="5045"/>
                    <a:pt x="12581" y="4336"/>
                    <a:pt x="10546" y="4336"/>
                  </a:cubicBezTo>
                  <a:cubicBezTo>
                    <a:pt x="8603" y="4336"/>
                    <a:pt x="7539" y="5085"/>
                    <a:pt x="7539" y="6149"/>
                  </a:cubicBezTo>
                  <a:cubicBezTo>
                    <a:pt x="7539" y="7253"/>
                    <a:pt x="8649" y="7686"/>
                    <a:pt x="11841" y="8041"/>
                  </a:cubicBezTo>
                  <a:cubicBezTo>
                    <a:pt x="18316" y="8750"/>
                    <a:pt x="21600" y="10209"/>
                    <a:pt x="21600" y="14584"/>
                  </a:cubicBezTo>
                  <a:cubicBezTo>
                    <a:pt x="21600" y="19314"/>
                    <a:pt x="17484" y="21600"/>
                    <a:pt x="10916" y="21600"/>
                  </a:cubicBezTo>
                  <a:cubicBezTo>
                    <a:pt x="4163" y="21600"/>
                    <a:pt x="231" y="19117"/>
                    <a:pt x="0" y="14623"/>
                  </a:cubicBezTo>
                  <a:close/>
                  <a:moveTo>
                    <a:pt x="0" y="14623"/>
                  </a:move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9" name="AutoShape 36">
              <a:extLst>
                <a:ext uri="{FF2B5EF4-FFF2-40B4-BE49-F238E27FC236}">
                  <a16:creationId xmlns:a16="http://schemas.microsoft.com/office/drawing/2014/main" id="{C2E65EF5-BC07-4391-86E5-301CD9047D6B}"/>
                </a:ext>
              </a:extLst>
            </p:cNvPr>
            <p:cNvSpPr>
              <a:spLocks/>
            </p:cNvSpPr>
            <p:nvPr/>
          </p:nvSpPr>
          <p:spPr bwMode="auto">
            <a:xfrm>
              <a:off x="914400" y="5194300"/>
              <a:ext cx="947738" cy="1808163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4090" y="15764"/>
                  </a:moveTo>
                  <a:lnTo>
                    <a:pt x="4090" y="7547"/>
                  </a:lnTo>
                  <a:lnTo>
                    <a:pt x="0" y="7547"/>
                  </a:lnTo>
                  <a:lnTo>
                    <a:pt x="0" y="3690"/>
                  </a:lnTo>
                  <a:lnTo>
                    <a:pt x="4090" y="3690"/>
                  </a:lnTo>
                  <a:lnTo>
                    <a:pt x="4090" y="0"/>
                  </a:lnTo>
                  <a:lnTo>
                    <a:pt x="14698" y="0"/>
                  </a:lnTo>
                  <a:lnTo>
                    <a:pt x="14698" y="3690"/>
                  </a:lnTo>
                  <a:lnTo>
                    <a:pt x="21472" y="3690"/>
                  </a:lnTo>
                  <a:lnTo>
                    <a:pt x="21472" y="7547"/>
                  </a:lnTo>
                  <a:lnTo>
                    <a:pt x="14698" y="7547"/>
                  </a:lnTo>
                  <a:lnTo>
                    <a:pt x="14698" y="15227"/>
                  </a:lnTo>
                  <a:cubicBezTo>
                    <a:pt x="14698" y="16569"/>
                    <a:pt x="15976" y="17173"/>
                    <a:pt x="18213" y="17173"/>
                  </a:cubicBezTo>
                  <a:cubicBezTo>
                    <a:pt x="19555" y="17173"/>
                    <a:pt x="20514" y="17072"/>
                    <a:pt x="21600" y="16871"/>
                  </a:cubicBezTo>
                  <a:lnTo>
                    <a:pt x="21600" y="21131"/>
                  </a:lnTo>
                  <a:cubicBezTo>
                    <a:pt x="20130" y="21332"/>
                    <a:pt x="18085" y="21600"/>
                    <a:pt x="15465" y="21600"/>
                  </a:cubicBezTo>
                  <a:cubicBezTo>
                    <a:pt x="8180" y="21600"/>
                    <a:pt x="4090" y="19688"/>
                    <a:pt x="4090" y="15764"/>
                  </a:cubicBezTo>
                  <a:close/>
                  <a:moveTo>
                    <a:pt x="4090" y="15764"/>
                  </a:move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20" name="AutoShape 37">
              <a:extLst>
                <a:ext uri="{FF2B5EF4-FFF2-40B4-BE49-F238E27FC236}">
                  <a16:creationId xmlns:a16="http://schemas.microsoft.com/office/drawing/2014/main" id="{EDBE9A70-8C9B-47D8-AE51-DD9F2DBEDE38}"/>
                </a:ext>
              </a:extLst>
            </p:cNvPr>
            <p:cNvSpPr>
              <a:spLocks/>
            </p:cNvSpPr>
            <p:nvPr/>
          </p:nvSpPr>
          <p:spPr bwMode="auto">
            <a:xfrm>
              <a:off x="1917700" y="5461000"/>
              <a:ext cx="1382713" cy="1538288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14414" y="13874"/>
                  </a:moveTo>
                  <a:lnTo>
                    <a:pt x="14414" y="11273"/>
                  </a:lnTo>
                  <a:cubicBezTo>
                    <a:pt x="13845" y="11746"/>
                    <a:pt x="12881" y="12101"/>
                    <a:pt x="11129" y="12416"/>
                  </a:cubicBezTo>
                  <a:cubicBezTo>
                    <a:pt x="8806" y="12889"/>
                    <a:pt x="7185" y="13598"/>
                    <a:pt x="7185" y="15136"/>
                  </a:cubicBezTo>
                  <a:cubicBezTo>
                    <a:pt x="7185" y="16358"/>
                    <a:pt x="8018" y="17185"/>
                    <a:pt x="10077" y="17185"/>
                  </a:cubicBezTo>
                  <a:cubicBezTo>
                    <a:pt x="12531" y="17185"/>
                    <a:pt x="14414" y="15885"/>
                    <a:pt x="14414" y="13874"/>
                  </a:cubicBezTo>
                  <a:close/>
                  <a:moveTo>
                    <a:pt x="0" y="15609"/>
                  </a:moveTo>
                  <a:cubicBezTo>
                    <a:pt x="0" y="10800"/>
                    <a:pt x="4600" y="9696"/>
                    <a:pt x="10690" y="8790"/>
                  </a:cubicBezTo>
                  <a:cubicBezTo>
                    <a:pt x="13363" y="8396"/>
                    <a:pt x="14371" y="7765"/>
                    <a:pt x="14371" y="6543"/>
                  </a:cubicBezTo>
                  <a:cubicBezTo>
                    <a:pt x="14371" y="5282"/>
                    <a:pt x="13538" y="4533"/>
                    <a:pt x="11216" y="4533"/>
                  </a:cubicBezTo>
                  <a:cubicBezTo>
                    <a:pt x="8938" y="4533"/>
                    <a:pt x="7886" y="5636"/>
                    <a:pt x="7711" y="7095"/>
                  </a:cubicBezTo>
                  <a:lnTo>
                    <a:pt x="832" y="7095"/>
                  </a:lnTo>
                  <a:cubicBezTo>
                    <a:pt x="1270" y="2247"/>
                    <a:pt x="5564" y="0"/>
                    <a:pt x="11567" y="0"/>
                  </a:cubicBezTo>
                  <a:cubicBezTo>
                    <a:pt x="17613" y="0"/>
                    <a:pt x="21600" y="2247"/>
                    <a:pt x="21600" y="7450"/>
                  </a:cubicBezTo>
                  <a:lnTo>
                    <a:pt x="21600" y="21127"/>
                  </a:lnTo>
                  <a:lnTo>
                    <a:pt x="14590" y="21127"/>
                  </a:lnTo>
                  <a:lnTo>
                    <a:pt x="14590" y="18644"/>
                  </a:lnTo>
                  <a:cubicBezTo>
                    <a:pt x="13363" y="20221"/>
                    <a:pt x="11391" y="21600"/>
                    <a:pt x="7711" y="21600"/>
                  </a:cubicBezTo>
                  <a:cubicBezTo>
                    <a:pt x="3549" y="21600"/>
                    <a:pt x="0" y="19787"/>
                    <a:pt x="0" y="15609"/>
                  </a:cubicBezTo>
                  <a:close/>
                  <a:moveTo>
                    <a:pt x="0" y="15609"/>
                  </a:move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21" name="AutoShape 38">
              <a:extLst>
                <a:ext uri="{FF2B5EF4-FFF2-40B4-BE49-F238E27FC236}">
                  <a16:creationId xmlns:a16="http://schemas.microsoft.com/office/drawing/2014/main" id="{99DB4D65-C1B7-4A9B-B42A-3CC7136130A2}"/>
                </a:ext>
              </a:extLst>
            </p:cNvPr>
            <p:cNvSpPr>
              <a:spLocks/>
            </p:cNvSpPr>
            <p:nvPr/>
          </p:nvSpPr>
          <p:spPr bwMode="auto">
            <a:xfrm>
              <a:off x="3530600" y="4902200"/>
              <a:ext cx="461963" cy="2062163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0" y="0"/>
                  </a:moveTo>
                  <a:lnTo>
                    <a:pt x="21600" y="0"/>
                  </a:lnTo>
                  <a:lnTo>
                    <a:pt x="21600" y="21600"/>
                  </a:lnTo>
                  <a:lnTo>
                    <a:pt x="0" y="21600"/>
                  </a:lnTo>
                  <a:cubicBezTo>
                    <a:pt x="0" y="21600"/>
                    <a:pt x="0" y="0"/>
                    <a:pt x="0" y="0"/>
                  </a:cubicBezTo>
                  <a:close/>
                  <a:moveTo>
                    <a:pt x="0" y="0"/>
                  </a:move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22" name="AutoShape 39">
              <a:extLst>
                <a:ext uri="{FF2B5EF4-FFF2-40B4-BE49-F238E27FC236}">
                  <a16:creationId xmlns:a16="http://schemas.microsoft.com/office/drawing/2014/main" id="{2F7D8AB1-1210-4347-A589-CB3DCD71D9F2}"/>
                </a:ext>
              </a:extLst>
            </p:cNvPr>
            <p:cNvSpPr>
              <a:spLocks/>
            </p:cNvSpPr>
            <p:nvPr/>
          </p:nvSpPr>
          <p:spPr bwMode="auto">
            <a:xfrm>
              <a:off x="4229100" y="4902200"/>
              <a:ext cx="1419225" cy="2062163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0" y="0"/>
                  </a:moveTo>
                  <a:lnTo>
                    <a:pt x="7086" y="0"/>
                  </a:lnTo>
                  <a:lnTo>
                    <a:pt x="7086" y="12461"/>
                  </a:lnTo>
                  <a:lnTo>
                    <a:pt x="13532" y="6230"/>
                  </a:lnTo>
                  <a:lnTo>
                    <a:pt x="20960" y="6230"/>
                  </a:lnTo>
                  <a:lnTo>
                    <a:pt x="13319" y="13166"/>
                  </a:lnTo>
                  <a:lnTo>
                    <a:pt x="21600" y="21600"/>
                  </a:lnTo>
                  <a:lnTo>
                    <a:pt x="13617" y="21600"/>
                  </a:lnTo>
                  <a:lnTo>
                    <a:pt x="7086" y="14694"/>
                  </a:lnTo>
                  <a:lnTo>
                    <a:pt x="7086" y="21600"/>
                  </a:lnTo>
                  <a:lnTo>
                    <a:pt x="0" y="21600"/>
                  </a:lnTo>
                  <a:cubicBezTo>
                    <a:pt x="0" y="21600"/>
                    <a:pt x="0" y="0"/>
                    <a:pt x="0" y="0"/>
                  </a:cubicBezTo>
                  <a:close/>
                  <a:moveTo>
                    <a:pt x="0" y="0"/>
                  </a:move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23" name="AutoShape 40">
              <a:extLst>
                <a:ext uri="{FF2B5EF4-FFF2-40B4-BE49-F238E27FC236}">
                  <a16:creationId xmlns:a16="http://schemas.microsoft.com/office/drawing/2014/main" id="{2614580D-E835-453E-A2BE-5C799065FC18}"/>
                </a:ext>
              </a:extLst>
            </p:cNvPr>
            <p:cNvSpPr>
              <a:spLocks/>
            </p:cNvSpPr>
            <p:nvPr/>
          </p:nvSpPr>
          <p:spPr bwMode="auto">
            <a:xfrm>
              <a:off x="6146800" y="5461000"/>
              <a:ext cx="1382713" cy="1538288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14414" y="13874"/>
                  </a:moveTo>
                  <a:lnTo>
                    <a:pt x="14414" y="11273"/>
                  </a:lnTo>
                  <a:cubicBezTo>
                    <a:pt x="13845" y="11746"/>
                    <a:pt x="12881" y="12101"/>
                    <a:pt x="11129" y="12416"/>
                  </a:cubicBezTo>
                  <a:cubicBezTo>
                    <a:pt x="8806" y="12889"/>
                    <a:pt x="7185" y="13598"/>
                    <a:pt x="7185" y="15136"/>
                  </a:cubicBezTo>
                  <a:cubicBezTo>
                    <a:pt x="7185" y="16358"/>
                    <a:pt x="8018" y="17185"/>
                    <a:pt x="10077" y="17185"/>
                  </a:cubicBezTo>
                  <a:cubicBezTo>
                    <a:pt x="12531" y="17185"/>
                    <a:pt x="14414" y="15885"/>
                    <a:pt x="14414" y="13874"/>
                  </a:cubicBezTo>
                  <a:close/>
                  <a:moveTo>
                    <a:pt x="0" y="15609"/>
                  </a:moveTo>
                  <a:cubicBezTo>
                    <a:pt x="0" y="10800"/>
                    <a:pt x="4600" y="9696"/>
                    <a:pt x="10690" y="8790"/>
                  </a:cubicBezTo>
                  <a:cubicBezTo>
                    <a:pt x="13363" y="8396"/>
                    <a:pt x="14371" y="7765"/>
                    <a:pt x="14371" y="6543"/>
                  </a:cubicBezTo>
                  <a:cubicBezTo>
                    <a:pt x="14371" y="5282"/>
                    <a:pt x="13538" y="4533"/>
                    <a:pt x="11216" y="4533"/>
                  </a:cubicBezTo>
                  <a:cubicBezTo>
                    <a:pt x="8938" y="4533"/>
                    <a:pt x="7886" y="5636"/>
                    <a:pt x="7711" y="7095"/>
                  </a:cubicBezTo>
                  <a:lnTo>
                    <a:pt x="832" y="7095"/>
                  </a:lnTo>
                  <a:cubicBezTo>
                    <a:pt x="1270" y="2247"/>
                    <a:pt x="5564" y="0"/>
                    <a:pt x="11567" y="0"/>
                  </a:cubicBezTo>
                  <a:cubicBezTo>
                    <a:pt x="17613" y="0"/>
                    <a:pt x="21600" y="2247"/>
                    <a:pt x="21600" y="7450"/>
                  </a:cubicBezTo>
                  <a:lnTo>
                    <a:pt x="21600" y="21127"/>
                  </a:lnTo>
                  <a:lnTo>
                    <a:pt x="14590" y="21127"/>
                  </a:lnTo>
                  <a:lnTo>
                    <a:pt x="14590" y="18644"/>
                  </a:lnTo>
                  <a:cubicBezTo>
                    <a:pt x="13363" y="20221"/>
                    <a:pt x="11391" y="21600"/>
                    <a:pt x="7711" y="21600"/>
                  </a:cubicBezTo>
                  <a:cubicBezTo>
                    <a:pt x="3549" y="21600"/>
                    <a:pt x="0" y="19787"/>
                    <a:pt x="0" y="15609"/>
                  </a:cubicBezTo>
                  <a:close/>
                  <a:moveTo>
                    <a:pt x="0" y="15609"/>
                  </a:move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24" name="AutoShape 41">
              <a:extLst>
                <a:ext uri="{FF2B5EF4-FFF2-40B4-BE49-F238E27FC236}">
                  <a16:creationId xmlns:a16="http://schemas.microsoft.com/office/drawing/2014/main" id="{F469955A-20E0-4748-ADAC-3EF83696B968}"/>
                </a:ext>
              </a:extLst>
            </p:cNvPr>
            <p:cNvSpPr>
              <a:spLocks/>
            </p:cNvSpPr>
            <p:nvPr/>
          </p:nvSpPr>
          <p:spPr bwMode="auto">
            <a:xfrm>
              <a:off x="7747000" y="4902200"/>
              <a:ext cx="1554163" cy="2097088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15011" y="13793"/>
                  </a:moveTo>
                  <a:lnTo>
                    <a:pt x="15011" y="13561"/>
                  </a:lnTo>
                  <a:cubicBezTo>
                    <a:pt x="15011" y="10757"/>
                    <a:pt x="13295" y="9398"/>
                    <a:pt x="10683" y="9398"/>
                  </a:cubicBezTo>
                  <a:cubicBezTo>
                    <a:pt x="7993" y="9398"/>
                    <a:pt x="6277" y="10814"/>
                    <a:pt x="6277" y="13533"/>
                  </a:cubicBezTo>
                  <a:lnTo>
                    <a:pt x="6277" y="13764"/>
                  </a:lnTo>
                  <a:cubicBezTo>
                    <a:pt x="6277" y="16511"/>
                    <a:pt x="7993" y="17899"/>
                    <a:pt x="10722" y="17899"/>
                  </a:cubicBezTo>
                  <a:cubicBezTo>
                    <a:pt x="13529" y="17899"/>
                    <a:pt x="15011" y="16453"/>
                    <a:pt x="15011" y="13793"/>
                  </a:cubicBezTo>
                  <a:close/>
                  <a:moveTo>
                    <a:pt x="6472" y="18882"/>
                  </a:moveTo>
                  <a:lnTo>
                    <a:pt x="6472" y="21253"/>
                  </a:lnTo>
                  <a:lnTo>
                    <a:pt x="0" y="21253"/>
                  </a:lnTo>
                  <a:lnTo>
                    <a:pt x="0" y="0"/>
                  </a:lnTo>
                  <a:lnTo>
                    <a:pt x="6472" y="0"/>
                  </a:lnTo>
                  <a:lnTo>
                    <a:pt x="6472" y="8415"/>
                  </a:lnTo>
                  <a:cubicBezTo>
                    <a:pt x="7642" y="6969"/>
                    <a:pt x="9825" y="5754"/>
                    <a:pt x="12906" y="5754"/>
                  </a:cubicBezTo>
                  <a:cubicBezTo>
                    <a:pt x="17740" y="5754"/>
                    <a:pt x="21600" y="8443"/>
                    <a:pt x="21600" y="13561"/>
                  </a:cubicBezTo>
                  <a:lnTo>
                    <a:pt x="21600" y="13793"/>
                  </a:lnTo>
                  <a:cubicBezTo>
                    <a:pt x="21600" y="18911"/>
                    <a:pt x="17779" y="21600"/>
                    <a:pt x="12866" y="21600"/>
                  </a:cubicBezTo>
                  <a:cubicBezTo>
                    <a:pt x="9786" y="21600"/>
                    <a:pt x="7525" y="20501"/>
                    <a:pt x="6472" y="18882"/>
                  </a:cubicBezTo>
                  <a:close/>
                  <a:moveTo>
                    <a:pt x="6472" y="18882"/>
                  </a:move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25" name="AutoShape 42">
              <a:extLst>
                <a:ext uri="{FF2B5EF4-FFF2-40B4-BE49-F238E27FC236}">
                  <a16:creationId xmlns:a16="http://schemas.microsoft.com/office/drawing/2014/main" id="{896D7F85-6DE4-481F-9655-AD4EE789C8A0}"/>
                </a:ext>
              </a:extLst>
            </p:cNvPr>
            <p:cNvSpPr>
              <a:spLocks/>
            </p:cNvSpPr>
            <p:nvPr/>
          </p:nvSpPr>
          <p:spPr bwMode="auto">
            <a:xfrm>
              <a:off x="9398000" y="5461000"/>
              <a:ext cx="1582738" cy="1538288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15128" y="10958"/>
                  </a:moveTo>
                  <a:lnTo>
                    <a:pt x="15128" y="10642"/>
                  </a:lnTo>
                  <a:cubicBezTo>
                    <a:pt x="15128" y="7016"/>
                    <a:pt x="13596" y="4927"/>
                    <a:pt x="10838" y="4927"/>
                  </a:cubicBezTo>
                  <a:cubicBezTo>
                    <a:pt x="8042" y="4927"/>
                    <a:pt x="6472" y="6937"/>
                    <a:pt x="6472" y="10563"/>
                  </a:cubicBezTo>
                  <a:lnTo>
                    <a:pt x="6472" y="10879"/>
                  </a:lnTo>
                  <a:cubicBezTo>
                    <a:pt x="6472" y="14584"/>
                    <a:pt x="8004" y="16673"/>
                    <a:pt x="10838" y="16673"/>
                  </a:cubicBezTo>
                  <a:cubicBezTo>
                    <a:pt x="13596" y="16673"/>
                    <a:pt x="15128" y="14544"/>
                    <a:pt x="15128" y="10958"/>
                  </a:cubicBezTo>
                  <a:close/>
                  <a:moveTo>
                    <a:pt x="0" y="11076"/>
                  </a:moveTo>
                  <a:lnTo>
                    <a:pt x="0" y="10761"/>
                  </a:lnTo>
                  <a:cubicBezTo>
                    <a:pt x="0" y="4178"/>
                    <a:pt x="4672" y="0"/>
                    <a:pt x="10838" y="0"/>
                  </a:cubicBezTo>
                  <a:cubicBezTo>
                    <a:pt x="16927" y="0"/>
                    <a:pt x="21600" y="4060"/>
                    <a:pt x="21600" y="10563"/>
                  </a:cubicBezTo>
                  <a:lnTo>
                    <a:pt x="21600" y="10879"/>
                  </a:lnTo>
                  <a:cubicBezTo>
                    <a:pt x="21600" y="17540"/>
                    <a:pt x="16889" y="21600"/>
                    <a:pt x="10800" y="21600"/>
                  </a:cubicBezTo>
                  <a:cubicBezTo>
                    <a:pt x="4672" y="21600"/>
                    <a:pt x="0" y="17658"/>
                    <a:pt x="0" y="11076"/>
                  </a:cubicBezTo>
                  <a:close/>
                  <a:moveTo>
                    <a:pt x="0" y="11076"/>
                  </a:move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26" name="AutoShape 43">
              <a:extLst>
                <a:ext uri="{FF2B5EF4-FFF2-40B4-BE49-F238E27FC236}">
                  <a16:creationId xmlns:a16="http://schemas.microsoft.com/office/drawing/2014/main" id="{3FBDD8C8-2A2C-488B-B85D-B255B1F2F02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25200" y="5499100"/>
              <a:ext cx="1428750" cy="1501775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0" y="13727"/>
                  </a:moveTo>
                  <a:lnTo>
                    <a:pt x="0" y="0"/>
                  </a:lnTo>
                  <a:lnTo>
                    <a:pt x="7045" y="0"/>
                  </a:lnTo>
                  <a:lnTo>
                    <a:pt x="7045" y="12677"/>
                  </a:lnTo>
                  <a:cubicBezTo>
                    <a:pt x="7045" y="15261"/>
                    <a:pt x="8105" y="16472"/>
                    <a:pt x="10439" y="16472"/>
                  </a:cubicBezTo>
                  <a:cubicBezTo>
                    <a:pt x="12858" y="16472"/>
                    <a:pt x="14556" y="15100"/>
                    <a:pt x="14556" y="12233"/>
                  </a:cubicBezTo>
                  <a:lnTo>
                    <a:pt x="14556" y="0"/>
                  </a:lnTo>
                  <a:lnTo>
                    <a:pt x="21600" y="0"/>
                  </a:lnTo>
                  <a:lnTo>
                    <a:pt x="21600" y="21115"/>
                  </a:lnTo>
                  <a:lnTo>
                    <a:pt x="14556" y="21115"/>
                  </a:lnTo>
                  <a:lnTo>
                    <a:pt x="14556" y="17845"/>
                  </a:lnTo>
                  <a:cubicBezTo>
                    <a:pt x="13367" y="19985"/>
                    <a:pt x="11161" y="21600"/>
                    <a:pt x="7511" y="21600"/>
                  </a:cubicBezTo>
                  <a:cubicBezTo>
                    <a:pt x="3183" y="21600"/>
                    <a:pt x="0" y="19097"/>
                    <a:pt x="0" y="13727"/>
                  </a:cubicBezTo>
                  <a:close/>
                  <a:moveTo>
                    <a:pt x="0" y="13727"/>
                  </a:move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27" name="AutoShape 44">
              <a:extLst>
                <a:ext uri="{FF2B5EF4-FFF2-40B4-BE49-F238E27FC236}">
                  <a16:creationId xmlns:a16="http://schemas.microsoft.com/office/drawing/2014/main" id="{7AE7B988-F203-4B08-83EC-A7E857709520}"/>
                </a:ext>
              </a:extLst>
            </p:cNvPr>
            <p:cNvSpPr>
              <a:spLocks/>
            </p:cNvSpPr>
            <p:nvPr/>
          </p:nvSpPr>
          <p:spPr bwMode="auto">
            <a:xfrm>
              <a:off x="12674600" y="5194300"/>
              <a:ext cx="947738" cy="1808163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4090" y="15764"/>
                  </a:moveTo>
                  <a:lnTo>
                    <a:pt x="4090" y="7547"/>
                  </a:lnTo>
                  <a:lnTo>
                    <a:pt x="0" y="7547"/>
                  </a:lnTo>
                  <a:lnTo>
                    <a:pt x="0" y="3690"/>
                  </a:lnTo>
                  <a:lnTo>
                    <a:pt x="4090" y="3690"/>
                  </a:lnTo>
                  <a:lnTo>
                    <a:pt x="4090" y="0"/>
                  </a:lnTo>
                  <a:lnTo>
                    <a:pt x="14698" y="0"/>
                  </a:lnTo>
                  <a:lnTo>
                    <a:pt x="14698" y="3690"/>
                  </a:lnTo>
                  <a:lnTo>
                    <a:pt x="21472" y="3690"/>
                  </a:lnTo>
                  <a:lnTo>
                    <a:pt x="21472" y="7547"/>
                  </a:lnTo>
                  <a:lnTo>
                    <a:pt x="14698" y="7547"/>
                  </a:lnTo>
                  <a:lnTo>
                    <a:pt x="14698" y="15227"/>
                  </a:lnTo>
                  <a:cubicBezTo>
                    <a:pt x="14698" y="16569"/>
                    <a:pt x="15976" y="17173"/>
                    <a:pt x="18213" y="17173"/>
                  </a:cubicBezTo>
                  <a:cubicBezTo>
                    <a:pt x="19555" y="17173"/>
                    <a:pt x="20514" y="17072"/>
                    <a:pt x="21600" y="16871"/>
                  </a:cubicBezTo>
                  <a:lnTo>
                    <a:pt x="21600" y="21131"/>
                  </a:lnTo>
                  <a:cubicBezTo>
                    <a:pt x="20130" y="21332"/>
                    <a:pt x="18085" y="21600"/>
                    <a:pt x="15465" y="21600"/>
                  </a:cubicBezTo>
                  <a:cubicBezTo>
                    <a:pt x="8180" y="21600"/>
                    <a:pt x="4090" y="19688"/>
                    <a:pt x="4090" y="15764"/>
                  </a:cubicBezTo>
                  <a:close/>
                  <a:moveTo>
                    <a:pt x="4090" y="15764"/>
                  </a:move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28" name="AutoShape 45">
              <a:extLst>
                <a:ext uri="{FF2B5EF4-FFF2-40B4-BE49-F238E27FC236}">
                  <a16:creationId xmlns:a16="http://schemas.microsoft.com/office/drawing/2014/main" id="{72594E18-1279-41D8-AE1A-58B03F205C74}"/>
                </a:ext>
              </a:extLst>
            </p:cNvPr>
            <p:cNvSpPr>
              <a:spLocks/>
            </p:cNvSpPr>
            <p:nvPr/>
          </p:nvSpPr>
          <p:spPr bwMode="auto">
            <a:xfrm>
              <a:off x="874713" y="8305800"/>
              <a:ext cx="2292350" cy="1468438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0" y="0"/>
                  </a:moveTo>
                  <a:lnTo>
                    <a:pt x="4606" y="0"/>
                  </a:lnTo>
                  <a:lnTo>
                    <a:pt x="6803" y="13546"/>
                  </a:lnTo>
                  <a:lnTo>
                    <a:pt x="9265" y="0"/>
                  </a:lnTo>
                  <a:lnTo>
                    <a:pt x="12812" y="0"/>
                  </a:lnTo>
                  <a:lnTo>
                    <a:pt x="15035" y="13546"/>
                  </a:lnTo>
                  <a:lnTo>
                    <a:pt x="17418" y="0"/>
                  </a:lnTo>
                  <a:lnTo>
                    <a:pt x="21600" y="0"/>
                  </a:lnTo>
                  <a:lnTo>
                    <a:pt x="17232" y="21600"/>
                  </a:lnTo>
                  <a:lnTo>
                    <a:pt x="12970" y="21600"/>
                  </a:lnTo>
                  <a:lnTo>
                    <a:pt x="10800" y="8962"/>
                  </a:lnTo>
                  <a:lnTo>
                    <a:pt x="8524" y="21600"/>
                  </a:lnTo>
                  <a:lnTo>
                    <a:pt x="4209" y="21600"/>
                  </a:lnTo>
                  <a:cubicBezTo>
                    <a:pt x="4209" y="21600"/>
                    <a:pt x="0" y="0"/>
                    <a:pt x="0" y="0"/>
                  </a:cubicBezTo>
                  <a:close/>
                  <a:moveTo>
                    <a:pt x="0" y="0"/>
                  </a:move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29" name="AutoShape 46">
              <a:extLst>
                <a:ext uri="{FF2B5EF4-FFF2-40B4-BE49-F238E27FC236}">
                  <a16:creationId xmlns:a16="http://schemas.microsoft.com/office/drawing/2014/main" id="{0F80056F-20B8-4658-8FCA-40C936DB21A3}"/>
                </a:ext>
              </a:extLst>
            </p:cNvPr>
            <p:cNvSpPr>
              <a:spLocks/>
            </p:cNvSpPr>
            <p:nvPr/>
          </p:nvSpPr>
          <p:spPr bwMode="auto">
            <a:xfrm>
              <a:off x="3249613" y="7708900"/>
              <a:ext cx="1433512" cy="2062163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0" y="0"/>
                  </a:moveTo>
                  <a:lnTo>
                    <a:pt x="7030" y="0"/>
                  </a:lnTo>
                  <a:lnTo>
                    <a:pt x="7030" y="8699"/>
                  </a:lnTo>
                  <a:cubicBezTo>
                    <a:pt x="8174" y="7141"/>
                    <a:pt x="10631" y="5848"/>
                    <a:pt x="14273" y="5848"/>
                  </a:cubicBezTo>
                  <a:cubicBezTo>
                    <a:pt x="18593" y="5848"/>
                    <a:pt x="21600" y="7670"/>
                    <a:pt x="21600" y="11696"/>
                  </a:cubicBezTo>
                  <a:lnTo>
                    <a:pt x="21600" y="21600"/>
                  </a:lnTo>
                  <a:lnTo>
                    <a:pt x="14570" y="21600"/>
                  </a:lnTo>
                  <a:lnTo>
                    <a:pt x="14570" y="12578"/>
                  </a:lnTo>
                  <a:cubicBezTo>
                    <a:pt x="14570" y="10697"/>
                    <a:pt x="13511" y="9816"/>
                    <a:pt x="11139" y="9816"/>
                  </a:cubicBezTo>
                  <a:cubicBezTo>
                    <a:pt x="8767" y="9816"/>
                    <a:pt x="7030" y="10815"/>
                    <a:pt x="7030" y="12901"/>
                  </a:cubicBezTo>
                  <a:lnTo>
                    <a:pt x="7030" y="21600"/>
                  </a:lnTo>
                  <a:lnTo>
                    <a:pt x="0" y="21600"/>
                  </a:lnTo>
                  <a:cubicBezTo>
                    <a:pt x="0" y="21600"/>
                    <a:pt x="0" y="0"/>
                    <a:pt x="0" y="0"/>
                  </a:cubicBezTo>
                  <a:close/>
                  <a:moveTo>
                    <a:pt x="0" y="0"/>
                  </a:move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30" name="AutoShape 47">
              <a:extLst>
                <a:ext uri="{FF2B5EF4-FFF2-40B4-BE49-F238E27FC236}">
                  <a16:creationId xmlns:a16="http://schemas.microsoft.com/office/drawing/2014/main" id="{6B564E43-D579-44FC-B952-3785D55B52A4}"/>
                </a:ext>
              </a:extLst>
            </p:cNvPr>
            <p:cNvSpPr>
              <a:spLocks/>
            </p:cNvSpPr>
            <p:nvPr/>
          </p:nvSpPr>
          <p:spPr bwMode="auto">
            <a:xfrm>
              <a:off x="4826000" y="8267700"/>
              <a:ext cx="1382713" cy="1538288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14414" y="13875"/>
                  </a:moveTo>
                  <a:lnTo>
                    <a:pt x="14414" y="11273"/>
                  </a:lnTo>
                  <a:cubicBezTo>
                    <a:pt x="13845" y="11746"/>
                    <a:pt x="12881" y="12101"/>
                    <a:pt x="11129" y="12416"/>
                  </a:cubicBezTo>
                  <a:cubicBezTo>
                    <a:pt x="8806" y="12890"/>
                    <a:pt x="7185" y="13599"/>
                    <a:pt x="7185" y="15136"/>
                  </a:cubicBezTo>
                  <a:cubicBezTo>
                    <a:pt x="7185" y="16358"/>
                    <a:pt x="8018" y="17186"/>
                    <a:pt x="10077" y="17186"/>
                  </a:cubicBezTo>
                  <a:cubicBezTo>
                    <a:pt x="12531" y="17186"/>
                    <a:pt x="14414" y="15885"/>
                    <a:pt x="14414" y="13875"/>
                  </a:cubicBezTo>
                  <a:close/>
                  <a:moveTo>
                    <a:pt x="0" y="15609"/>
                  </a:moveTo>
                  <a:cubicBezTo>
                    <a:pt x="0" y="10800"/>
                    <a:pt x="4600" y="9696"/>
                    <a:pt x="10690" y="8790"/>
                  </a:cubicBezTo>
                  <a:cubicBezTo>
                    <a:pt x="13363" y="8396"/>
                    <a:pt x="14371" y="7765"/>
                    <a:pt x="14371" y="6543"/>
                  </a:cubicBezTo>
                  <a:cubicBezTo>
                    <a:pt x="14371" y="5282"/>
                    <a:pt x="13538" y="4533"/>
                    <a:pt x="11216" y="4533"/>
                  </a:cubicBezTo>
                  <a:cubicBezTo>
                    <a:pt x="8938" y="4533"/>
                    <a:pt x="7886" y="5637"/>
                    <a:pt x="7711" y="7095"/>
                  </a:cubicBezTo>
                  <a:lnTo>
                    <a:pt x="832" y="7095"/>
                  </a:lnTo>
                  <a:cubicBezTo>
                    <a:pt x="1270" y="2247"/>
                    <a:pt x="5564" y="0"/>
                    <a:pt x="11567" y="0"/>
                  </a:cubicBezTo>
                  <a:cubicBezTo>
                    <a:pt x="17613" y="0"/>
                    <a:pt x="21600" y="2247"/>
                    <a:pt x="21600" y="7450"/>
                  </a:cubicBezTo>
                  <a:lnTo>
                    <a:pt x="21600" y="21127"/>
                  </a:lnTo>
                  <a:lnTo>
                    <a:pt x="14590" y="21127"/>
                  </a:lnTo>
                  <a:lnTo>
                    <a:pt x="14590" y="18644"/>
                  </a:lnTo>
                  <a:cubicBezTo>
                    <a:pt x="13363" y="20221"/>
                    <a:pt x="11391" y="21600"/>
                    <a:pt x="7711" y="21600"/>
                  </a:cubicBezTo>
                  <a:cubicBezTo>
                    <a:pt x="3549" y="21600"/>
                    <a:pt x="0" y="19787"/>
                    <a:pt x="0" y="15609"/>
                  </a:cubicBezTo>
                  <a:close/>
                  <a:moveTo>
                    <a:pt x="0" y="15609"/>
                  </a:move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31" name="AutoShape 48">
              <a:extLst>
                <a:ext uri="{FF2B5EF4-FFF2-40B4-BE49-F238E27FC236}">
                  <a16:creationId xmlns:a16="http://schemas.microsoft.com/office/drawing/2014/main" id="{37752E04-17F0-45AA-80CE-CC279998AD87}"/>
                </a:ext>
              </a:extLst>
            </p:cNvPr>
            <p:cNvSpPr>
              <a:spLocks/>
            </p:cNvSpPr>
            <p:nvPr/>
          </p:nvSpPr>
          <p:spPr bwMode="auto">
            <a:xfrm>
              <a:off x="6286500" y="8001000"/>
              <a:ext cx="947738" cy="1808163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4090" y="15764"/>
                  </a:moveTo>
                  <a:lnTo>
                    <a:pt x="4090" y="7547"/>
                  </a:lnTo>
                  <a:lnTo>
                    <a:pt x="0" y="7547"/>
                  </a:lnTo>
                  <a:lnTo>
                    <a:pt x="0" y="3690"/>
                  </a:lnTo>
                  <a:lnTo>
                    <a:pt x="4090" y="3690"/>
                  </a:lnTo>
                  <a:lnTo>
                    <a:pt x="4090" y="0"/>
                  </a:lnTo>
                  <a:lnTo>
                    <a:pt x="14698" y="0"/>
                  </a:lnTo>
                  <a:lnTo>
                    <a:pt x="14698" y="3690"/>
                  </a:lnTo>
                  <a:lnTo>
                    <a:pt x="21472" y="3690"/>
                  </a:lnTo>
                  <a:lnTo>
                    <a:pt x="21472" y="7547"/>
                  </a:lnTo>
                  <a:lnTo>
                    <a:pt x="14698" y="7547"/>
                  </a:lnTo>
                  <a:lnTo>
                    <a:pt x="14698" y="15228"/>
                  </a:lnTo>
                  <a:cubicBezTo>
                    <a:pt x="14698" y="16569"/>
                    <a:pt x="15976" y="17173"/>
                    <a:pt x="18213" y="17173"/>
                  </a:cubicBezTo>
                  <a:cubicBezTo>
                    <a:pt x="19555" y="17173"/>
                    <a:pt x="20514" y="17072"/>
                    <a:pt x="21600" y="16871"/>
                  </a:cubicBezTo>
                  <a:lnTo>
                    <a:pt x="21600" y="21130"/>
                  </a:lnTo>
                  <a:cubicBezTo>
                    <a:pt x="20130" y="21332"/>
                    <a:pt x="18085" y="21600"/>
                    <a:pt x="15465" y="21600"/>
                  </a:cubicBezTo>
                  <a:cubicBezTo>
                    <a:pt x="8180" y="21600"/>
                    <a:pt x="4090" y="19689"/>
                    <a:pt x="4090" y="15764"/>
                  </a:cubicBezTo>
                  <a:close/>
                  <a:moveTo>
                    <a:pt x="4090" y="15764"/>
                  </a:move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32" name="AutoShape 49">
              <a:extLst>
                <a:ext uri="{FF2B5EF4-FFF2-40B4-BE49-F238E27FC236}">
                  <a16:creationId xmlns:a16="http://schemas.microsoft.com/office/drawing/2014/main" id="{50C55E8A-1411-4E25-8E7D-F5F8F968A6AC}"/>
                </a:ext>
              </a:extLst>
            </p:cNvPr>
            <p:cNvSpPr>
              <a:spLocks/>
            </p:cNvSpPr>
            <p:nvPr/>
          </p:nvSpPr>
          <p:spPr bwMode="auto">
            <a:xfrm>
              <a:off x="7378700" y="7747000"/>
              <a:ext cx="512763" cy="800100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944" y="16598"/>
                  </a:moveTo>
                  <a:cubicBezTo>
                    <a:pt x="6374" y="15764"/>
                    <a:pt x="8852" y="13642"/>
                    <a:pt x="9442" y="11748"/>
                  </a:cubicBezTo>
                  <a:cubicBezTo>
                    <a:pt x="3423" y="11520"/>
                    <a:pt x="0" y="9322"/>
                    <a:pt x="0" y="5911"/>
                  </a:cubicBezTo>
                  <a:cubicBezTo>
                    <a:pt x="0" y="2197"/>
                    <a:pt x="4721" y="0"/>
                    <a:pt x="10387" y="0"/>
                  </a:cubicBezTo>
                  <a:cubicBezTo>
                    <a:pt x="16879" y="0"/>
                    <a:pt x="21600" y="2956"/>
                    <a:pt x="21600" y="7655"/>
                  </a:cubicBezTo>
                  <a:lnTo>
                    <a:pt x="21600" y="8186"/>
                  </a:lnTo>
                  <a:cubicBezTo>
                    <a:pt x="21600" y="14855"/>
                    <a:pt x="14636" y="20236"/>
                    <a:pt x="944" y="21600"/>
                  </a:cubicBezTo>
                  <a:cubicBezTo>
                    <a:pt x="944" y="21600"/>
                    <a:pt x="944" y="16598"/>
                    <a:pt x="944" y="16598"/>
                  </a:cubicBezTo>
                  <a:close/>
                  <a:moveTo>
                    <a:pt x="944" y="16598"/>
                  </a:move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33" name="AutoShape 50">
              <a:extLst>
                <a:ext uri="{FF2B5EF4-FFF2-40B4-BE49-F238E27FC236}">
                  <a16:creationId xmlns:a16="http://schemas.microsoft.com/office/drawing/2014/main" id="{9A355702-F22F-46CE-BF5E-86EAA75870AE}"/>
                </a:ext>
              </a:extLst>
            </p:cNvPr>
            <p:cNvSpPr>
              <a:spLocks/>
            </p:cNvSpPr>
            <p:nvPr/>
          </p:nvSpPr>
          <p:spPr bwMode="auto">
            <a:xfrm>
              <a:off x="7848600" y="8267700"/>
              <a:ext cx="1309688" cy="1538288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0" y="14623"/>
                  </a:moveTo>
                  <a:lnTo>
                    <a:pt x="7123" y="14623"/>
                  </a:lnTo>
                  <a:cubicBezTo>
                    <a:pt x="7400" y="16240"/>
                    <a:pt x="8279" y="17146"/>
                    <a:pt x="10870" y="17146"/>
                  </a:cubicBezTo>
                  <a:cubicBezTo>
                    <a:pt x="13089" y="17146"/>
                    <a:pt x="14154" y="16437"/>
                    <a:pt x="14154" y="15254"/>
                  </a:cubicBezTo>
                  <a:cubicBezTo>
                    <a:pt x="14154" y="14111"/>
                    <a:pt x="12858" y="13599"/>
                    <a:pt x="9482" y="13165"/>
                  </a:cubicBezTo>
                  <a:cubicBezTo>
                    <a:pt x="3053" y="12416"/>
                    <a:pt x="370" y="10840"/>
                    <a:pt x="370" y="6622"/>
                  </a:cubicBezTo>
                  <a:cubicBezTo>
                    <a:pt x="370" y="2168"/>
                    <a:pt x="5088" y="0"/>
                    <a:pt x="10453" y="0"/>
                  </a:cubicBezTo>
                  <a:cubicBezTo>
                    <a:pt x="16189" y="0"/>
                    <a:pt x="20305" y="1695"/>
                    <a:pt x="20860" y="6543"/>
                  </a:cubicBezTo>
                  <a:lnTo>
                    <a:pt x="13876" y="6543"/>
                  </a:lnTo>
                  <a:cubicBezTo>
                    <a:pt x="13552" y="5045"/>
                    <a:pt x="12581" y="4336"/>
                    <a:pt x="10546" y="4336"/>
                  </a:cubicBezTo>
                  <a:cubicBezTo>
                    <a:pt x="8603" y="4336"/>
                    <a:pt x="7539" y="5085"/>
                    <a:pt x="7539" y="6149"/>
                  </a:cubicBezTo>
                  <a:cubicBezTo>
                    <a:pt x="7539" y="7253"/>
                    <a:pt x="8649" y="7686"/>
                    <a:pt x="11841" y="8041"/>
                  </a:cubicBezTo>
                  <a:cubicBezTo>
                    <a:pt x="18316" y="8750"/>
                    <a:pt x="21600" y="10209"/>
                    <a:pt x="21600" y="14584"/>
                  </a:cubicBezTo>
                  <a:cubicBezTo>
                    <a:pt x="21600" y="19314"/>
                    <a:pt x="17484" y="21600"/>
                    <a:pt x="10916" y="21600"/>
                  </a:cubicBezTo>
                  <a:cubicBezTo>
                    <a:pt x="4163" y="21600"/>
                    <a:pt x="231" y="19117"/>
                    <a:pt x="0" y="14623"/>
                  </a:cubicBezTo>
                  <a:close/>
                  <a:moveTo>
                    <a:pt x="0" y="14623"/>
                  </a:move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34" name="AutoShape 51">
              <a:extLst>
                <a:ext uri="{FF2B5EF4-FFF2-40B4-BE49-F238E27FC236}">
                  <a16:creationId xmlns:a16="http://schemas.microsoft.com/office/drawing/2014/main" id="{C3791F09-B6CD-4F48-A889-8509A0F85B87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3300" y="11074400"/>
              <a:ext cx="1554163" cy="1998663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15011" y="8434"/>
                  </a:moveTo>
                  <a:lnTo>
                    <a:pt x="15011" y="8191"/>
                  </a:lnTo>
                  <a:cubicBezTo>
                    <a:pt x="15011" y="5248"/>
                    <a:pt x="13296" y="3823"/>
                    <a:pt x="10683" y="3823"/>
                  </a:cubicBezTo>
                  <a:cubicBezTo>
                    <a:pt x="7993" y="3823"/>
                    <a:pt x="6277" y="5309"/>
                    <a:pt x="6277" y="8161"/>
                  </a:cubicBezTo>
                  <a:lnTo>
                    <a:pt x="6277" y="8403"/>
                  </a:lnTo>
                  <a:cubicBezTo>
                    <a:pt x="6277" y="11286"/>
                    <a:pt x="7993" y="12741"/>
                    <a:pt x="10722" y="12741"/>
                  </a:cubicBezTo>
                  <a:cubicBezTo>
                    <a:pt x="13529" y="12741"/>
                    <a:pt x="15011" y="11225"/>
                    <a:pt x="15011" y="8434"/>
                  </a:cubicBezTo>
                  <a:close/>
                  <a:moveTo>
                    <a:pt x="0" y="395"/>
                  </a:moveTo>
                  <a:lnTo>
                    <a:pt x="6472" y="395"/>
                  </a:lnTo>
                  <a:lnTo>
                    <a:pt x="6472" y="2791"/>
                  </a:lnTo>
                  <a:cubicBezTo>
                    <a:pt x="7642" y="1274"/>
                    <a:pt x="9825" y="0"/>
                    <a:pt x="12906" y="0"/>
                  </a:cubicBezTo>
                  <a:cubicBezTo>
                    <a:pt x="17740" y="0"/>
                    <a:pt x="21600" y="2821"/>
                    <a:pt x="21600" y="8191"/>
                  </a:cubicBezTo>
                  <a:lnTo>
                    <a:pt x="21600" y="8434"/>
                  </a:lnTo>
                  <a:cubicBezTo>
                    <a:pt x="21600" y="13804"/>
                    <a:pt x="17779" y="16624"/>
                    <a:pt x="12866" y="16624"/>
                  </a:cubicBezTo>
                  <a:cubicBezTo>
                    <a:pt x="9747" y="16624"/>
                    <a:pt x="7525" y="15472"/>
                    <a:pt x="6472" y="13894"/>
                  </a:cubicBezTo>
                  <a:lnTo>
                    <a:pt x="6472" y="21600"/>
                  </a:lnTo>
                  <a:lnTo>
                    <a:pt x="0" y="21600"/>
                  </a:lnTo>
                  <a:cubicBezTo>
                    <a:pt x="0" y="21600"/>
                    <a:pt x="0" y="395"/>
                    <a:pt x="0" y="395"/>
                  </a:cubicBezTo>
                  <a:close/>
                  <a:moveTo>
                    <a:pt x="0" y="395"/>
                  </a:move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35" name="AutoShape 52">
              <a:extLst>
                <a:ext uri="{FF2B5EF4-FFF2-40B4-BE49-F238E27FC236}">
                  <a16:creationId xmlns:a16="http://schemas.microsoft.com/office/drawing/2014/main" id="{2E28320E-39D0-483C-B08D-791A2E887F03}"/>
                </a:ext>
              </a:extLst>
            </p:cNvPr>
            <p:cNvSpPr>
              <a:spLocks/>
            </p:cNvSpPr>
            <p:nvPr/>
          </p:nvSpPr>
          <p:spPr bwMode="auto">
            <a:xfrm>
              <a:off x="2654300" y="11074400"/>
              <a:ext cx="1582738" cy="1538288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15128" y="10958"/>
                  </a:moveTo>
                  <a:lnTo>
                    <a:pt x="15128" y="10643"/>
                  </a:lnTo>
                  <a:cubicBezTo>
                    <a:pt x="15128" y="7016"/>
                    <a:pt x="13596" y="4928"/>
                    <a:pt x="10838" y="4928"/>
                  </a:cubicBezTo>
                  <a:cubicBezTo>
                    <a:pt x="8042" y="4928"/>
                    <a:pt x="6472" y="6937"/>
                    <a:pt x="6472" y="10564"/>
                  </a:cubicBezTo>
                  <a:lnTo>
                    <a:pt x="6472" y="10879"/>
                  </a:lnTo>
                  <a:cubicBezTo>
                    <a:pt x="6472" y="14584"/>
                    <a:pt x="8004" y="16673"/>
                    <a:pt x="10838" y="16673"/>
                  </a:cubicBezTo>
                  <a:cubicBezTo>
                    <a:pt x="13596" y="16673"/>
                    <a:pt x="15128" y="14545"/>
                    <a:pt x="15128" y="10958"/>
                  </a:cubicBezTo>
                  <a:close/>
                  <a:moveTo>
                    <a:pt x="0" y="11076"/>
                  </a:moveTo>
                  <a:lnTo>
                    <a:pt x="0" y="10761"/>
                  </a:lnTo>
                  <a:cubicBezTo>
                    <a:pt x="0" y="4179"/>
                    <a:pt x="4672" y="0"/>
                    <a:pt x="10838" y="0"/>
                  </a:cubicBezTo>
                  <a:cubicBezTo>
                    <a:pt x="16927" y="0"/>
                    <a:pt x="21600" y="4060"/>
                    <a:pt x="21600" y="10564"/>
                  </a:cubicBezTo>
                  <a:lnTo>
                    <a:pt x="21600" y="10879"/>
                  </a:lnTo>
                  <a:cubicBezTo>
                    <a:pt x="21600" y="17541"/>
                    <a:pt x="16889" y="21600"/>
                    <a:pt x="10800" y="21600"/>
                  </a:cubicBezTo>
                  <a:cubicBezTo>
                    <a:pt x="4672" y="21600"/>
                    <a:pt x="0" y="17659"/>
                    <a:pt x="0" y="11076"/>
                  </a:cubicBezTo>
                  <a:close/>
                  <a:moveTo>
                    <a:pt x="0" y="11076"/>
                  </a:move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36" name="AutoShape 53">
              <a:extLst>
                <a:ext uri="{FF2B5EF4-FFF2-40B4-BE49-F238E27FC236}">
                  <a16:creationId xmlns:a16="http://schemas.microsoft.com/office/drawing/2014/main" id="{AE52347F-2AAD-4830-8501-138B095ACA86}"/>
                </a:ext>
              </a:extLst>
            </p:cNvPr>
            <p:cNvSpPr>
              <a:spLocks/>
            </p:cNvSpPr>
            <p:nvPr/>
          </p:nvSpPr>
          <p:spPr bwMode="auto">
            <a:xfrm>
              <a:off x="4305300" y="11074400"/>
              <a:ext cx="1309688" cy="1538288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0" y="14623"/>
                  </a:moveTo>
                  <a:lnTo>
                    <a:pt x="7123" y="14623"/>
                  </a:lnTo>
                  <a:cubicBezTo>
                    <a:pt x="7400" y="16240"/>
                    <a:pt x="8279" y="17146"/>
                    <a:pt x="10870" y="17146"/>
                  </a:cubicBezTo>
                  <a:cubicBezTo>
                    <a:pt x="13089" y="17146"/>
                    <a:pt x="14154" y="16437"/>
                    <a:pt x="14154" y="15254"/>
                  </a:cubicBezTo>
                  <a:cubicBezTo>
                    <a:pt x="14154" y="14111"/>
                    <a:pt x="12858" y="13599"/>
                    <a:pt x="9482" y="13165"/>
                  </a:cubicBezTo>
                  <a:cubicBezTo>
                    <a:pt x="3053" y="12416"/>
                    <a:pt x="370" y="10840"/>
                    <a:pt x="370" y="6622"/>
                  </a:cubicBezTo>
                  <a:cubicBezTo>
                    <a:pt x="370" y="2168"/>
                    <a:pt x="5088" y="0"/>
                    <a:pt x="10453" y="0"/>
                  </a:cubicBezTo>
                  <a:cubicBezTo>
                    <a:pt x="16189" y="0"/>
                    <a:pt x="20305" y="1695"/>
                    <a:pt x="20860" y="6543"/>
                  </a:cubicBezTo>
                  <a:lnTo>
                    <a:pt x="13876" y="6543"/>
                  </a:lnTo>
                  <a:cubicBezTo>
                    <a:pt x="13552" y="5045"/>
                    <a:pt x="12581" y="4336"/>
                    <a:pt x="10546" y="4336"/>
                  </a:cubicBezTo>
                  <a:cubicBezTo>
                    <a:pt x="8603" y="4336"/>
                    <a:pt x="7539" y="5085"/>
                    <a:pt x="7539" y="6149"/>
                  </a:cubicBezTo>
                  <a:cubicBezTo>
                    <a:pt x="7539" y="7253"/>
                    <a:pt x="8649" y="7687"/>
                    <a:pt x="11841" y="8041"/>
                  </a:cubicBezTo>
                  <a:cubicBezTo>
                    <a:pt x="18316" y="8750"/>
                    <a:pt x="21600" y="10209"/>
                    <a:pt x="21600" y="14584"/>
                  </a:cubicBezTo>
                  <a:cubicBezTo>
                    <a:pt x="21600" y="19314"/>
                    <a:pt x="17484" y="21600"/>
                    <a:pt x="10916" y="21600"/>
                  </a:cubicBezTo>
                  <a:cubicBezTo>
                    <a:pt x="4163" y="21600"/>
                    <a:pt x="232" y="19117"/>
                    <a:pt x="0" y="14623"/>
                  </a:cubicBezTo>
                  <a:close/>
                  <a:moveTo>
                    <a:pt x="0" y="14623"/>
                  </a:move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37" name="AutoShape 54">
              <a:extLst>
                <a:ext uri="{FF2B5EF4-FFF2-40B4-BE49-F238E27FC236}">
                  <a16:creationId xmlns:a16="http://schemas.microsoft.com/office/drawing/2014/main" id="{ED8C7A6B-BB0B-4719-A3E6-1F80FA551C6E}"/>
                </a:ext>
              </a:extLst>
            </p:cNvPr>
            <p:cNvSpPr>
              <a:spLocks/>
            </p:cNvSpPr>
            <p:nvPr/>
          </p:nvSpPr>
          <p:spPr bwMode="auto">
            <a:xfrm>
              <a:off x="5689600" y="11074400"/>
              <a:ext cx="1309688" cy="1538288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0" y="14623"/>
                  </a:moveTo>
                  <a:lnTo>
                    <a:pt x="7123" y="14623"/>
                  </a:lnTo>
                  <a:cubicBezTo>
                    <a:pt x="7400" y="16240"/>
                    <a:pt x="8279" y="17146"/>
                    <a:pt x="10870" y="17146"/>
                  </a:cubicBezTo>
                  <a:cubicBezTo>
                    <a:pt x="13089" y="17146"/>
                    <a:pt x="14154" y="16437"/>
                    <a:pt x="14154" y="15254"/>
                  </a:cubicBezTo>
                  <a:cubicBezTo>
                    <a:pt x="14154" y="14111"/>
                    <a:pt x="12858" y="13599"/>
                    <a:pt x="9482" y="13165"/>
                  </a:cubicBezTo>
                  <a:cubicBezTo>
                    <a:pt x="3053" y="12416"/>
                    <a:pt x="370" y="10840"/>
                    <a:pt x="370" y="6622"/>
                  </a:cubicBezTo>
                  <a:cubicBezTo>
                    <a:pt x="370" y="2168"/>
                    <a:pt x="5088" y="0"/>
                    <a:pt x="10453" y="0"/>
                  </a:cubicBezTo>
                  <a:cubicBezTo>
                    <a:pt x="16189" y="0"/>
                    <a:pt x="20305" y="1695"/>
                    <a:pt x="20860" y="6543"/>
                  </a:cubicBezTo>
                  <a:lnTo>
                    <a:pt x="13876" y="6543"/>
                  </a:lnTo>
                  <a:cubicBezTo>
                    <a:pt x="13552" y="5045"/>
                    <a:pt x="12581" y="4336"/>
                    <a:pt x="10546" y="4336"/>
                  </a:cubicBezTo>
                  <a:cubicBezTo>
                    <a:pt x="8603" y="4336"/>
                    <a:pt x="7539" y="5085"/>
                    <a:pt x="7539" y="6149"/>
                  </a:cubicBezTo>
                  <a:cubicBezTo>
                    <a:pt x="7539" y="7253"/>
                    <a:pt x="8649" y="7687"/>
                    <a:pt x="11841" y="8041"/>
                  </a:cubicBezTo>
                  <a:cubicBezTo>
                    <a:pt x="18316" y="8750"/>
                    <a:pt x="21600" y="10209"/>
                    <a:pt x="21600" y="14584"/>
                  </a:cubicBezTo>
                  <a:cubicBezTo>
                    <a:pt x="21600" y="19314"/>
                    <a:pt x="17484" y="21600"/>
                    <a:pt x="10916" y="21600"/>
                  </a:cubicBezTo>
                  <a:cubicBezTo>
                    <a:pt x="4163" y="21600"/>
                    <a:pt x="232" y="19117"/>
                    <a:pt x="0" y="14623"/>
                  </a:cubicBezTo>
                  <a:close/>
                  <a:moveTo>
                    <a:pt x="0" y="14623"/>
                  </a:move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38" name="AutoShape 55">
              <a:extLst>
                <a:ext uri="{FF2B5EF4-FFF2-40B4-BE49-F238E27FC236}">
                  <a16:creationId xmlns:a16="http://schemas.microsoft.com/office/drawing/2014/main" id="{CEC9E09E-089E-495F-882E-8CD32ACC4675}"/>
                </a:ext>
              </a:extLst>
            </p:cNvPr>
            <p:cNvSpPr>
              <a:spLocks/>
            </p:cNvSpPr>
            <p:nvPr/>
          </p:nvSpPr>
          <p:spPr bwMode="auto">
            <a:xfrm>
              <a:off x="7124700" y="10502900"/>
              <a:ext cx="519113" cy="2076450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1168" y="6334"/>
                  </a:moveTo>
                  <a:lnTo>
                    <a:pt x="20550" y="6334"/>
                  </a:lnTo>
                  <a:lnTo>
                    <a:pt x="20550" y="21600"/>
                  </a:lnTo>
                  <a:lnTo>
                    <a:pt x="1168" y="21600"/>
                  </a:lnTo>
                  <a:cubicBezTo>
                    <a:pt x="1168" y="21600"/>
                    <a:pt x="1168" y="6334"/>
                    <a:pt x="1168" y="6334"/>
                  </a:cubicBezTo>
                  <a:close/>
                  <a:moveTo>
                    <a:pt x="0" y="2569"/>
                  </a:moveTo>
                  <a:cubicBezTo>
                    <a:pt x="0" y="1109"/>
                    <a:pt x="4670" y="0"/>
                    <a:pt x="10741" y="0"/>
                  </a:cubicBezTo>
                  <a:cubicBezTo>
                    <a:pt x="16814" y="0"/>
                    <a:pt x="21600" y="1109"/>
                    <a:pt x="21600" y="2569"/>
                  </a:cubicBezTo>
                  <a:cubicBezTo>
                    <a:pt x="21600" y="4028"/>
                    <a:pt x="16814" y="5108"/>
                    <a:pt x="10741" y="5108"/>
                  </a:cubicBezTo>
                  <a:cubicBezTo>
                    <a:pt x="4670" y="5108"/>
                    <a:pt x="0" y="4028"/>
                    <a:pt x="0" y="2569"/>
                  </a:cubicBezTo>
                  <a:close/>
                  <a:moveTo>
                    <a:pt x="0" y="2569"/>
                  </a:move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39" name="AutoShape 56">
              <a:extLst>
                <a:ext uri="{FF2B5EF4-FFF2-40B4-BE49-F238E27FC236}">
                  <a16:creationId xmlns:a16="http://schemas.microsoft.com/office/drawing/2014/main" id="{76EEB1E9-F835-481F-9170-45BFAE382BAA}"/>
                </a:ext>
              </a:extLst>
            </p:cNvPr>
            <p:cNvSpPr>
              <a:spLocks/>
            </p:cNvSpPr>
            <p:nvPr/>
          </p:nvSpPr>
          <p:spPr bwMode="auto">
            <a:xfrm>
              <a:off x="7848600" y="10515600"/>
              <a:ext cx="1554163" cy="2097088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15011" y="13793"/>
                  </a:moveTo>
                  <a:lnTo>
                    <a:pt x="15011" y="13562"/>
                  </a:lnTo>
                  <a:cubicBezTo>
                    <a:pt x="15011" y="10757"/>
                    <a:pt x="13295" y="9398"/>
                    <a:pt x="10683" y="9398"/>
                  </a:cubicBezTo>
                  <a:cubicBezTo>
                    <a:pt x="7993" y="9398"/>
                    <a:pt x="6277" y="10815"/>
                    <a:pt x="6277" y="13533"/>
                  </a:cubicBezTo>
                  <a:lnTo>
                    <a:pt x="6277" y="13764"/>
                  </a:lnTo>
                  <a:cubicBezTo>
                    <a:pt x="6277" y="16511"/>
                    <a:pt x="7993" y="17899"/>
                    <a:pt x="10722" y="17899"/>
                  </a:cubicBezTo>
                  <a:cubicBezTo>
                    <a:pt x="13529" y="17899"/>
                    <a:pt x="15011" y="16453"/>
                    <a:pt x="15011" y="13793"/>
                  </a:cubicBezTo>
                  <a:close/>
                  <a:moveTo>
                    <a:pt x="6472" y="18882"/>
                  </a:moveTo>
                  <a:lnTo>
                    <a:pt x="6472" y="21253"/>
                  </a:lnTo>
                  <a:lnTo>
                    <a:pt x="0" y="21253"/>
                  </a:lnTo>
                  <a:lnTo>
                    <a:pt x="0" y="0"/>
                  </a:lnTo>
                  <a:lnTo>
                    <a:pt x="6472" y="0"/>
                  </a:lnTo>
                  <a:lnTo>
                    <a:pt x="6472" y="8415"/>
                  </a:lnTo>
                  <a:cubicBezTo>
                    <a:pt x="7642" y="6969"/>
                    <a:pt x="9825" y="5754"/>
                    <a:pt x="12906" y="5754"/>
                  </a:cubicBezTo>
                  <a:cubicBezTo>
                    <a:pt x="17740" y="5754"/>
                    <a:pt x="21600" y="8443"/>
                    <a:pt x="21600" y="13562"/>
                  </a:cubicBezTo>
                  <a:lnTo>
                    <a:pt x="21600" y="13793"/>
                  </a:lnTo>
                  <a:cubicBezTo>
                    <a:pt x="21600" y="18911"/>
                    <a:pt x="17779" y="21600"/>
                    <a:pt x="12866" y="21600"/>
                  </a:cubicBezTo>
                  <a:cubicBezTo>
                    <a:pt x="9786" y="21600"/>
                    <a:pt x="7525" y="20502"/>
                    <a:pt x="6472" y="18882"/>
                  </a:cubicBezTo>
                  <a:close/>
                  <a:moveTo>
                    <a:pt x="6472" y="18882"/>
                  </a:move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40" name="AutoShape 57">
              <a:extLst>
                <a:ext uri="{FF2B5EF4-FFF2-40B4-BE49-F238E27FC236}">
                  <a16:creationId xmlns:a16="http://schemas.microsoft.com/office/drawing/2014/main" id="{1FA17B61-02F5-4843-A14A-D33719E5CF01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5800" y="10515600"/>
              <a:ext cx="461963" cy="2062163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0" y="0"/>
                  </a:moveTo>
                  <a:lnTo>
                    <a:pt x="21600" y="0"/>
                  </a:lnTo>
                  <a:lnTo>
                    <a:pt x="21600" y="21600"/>
                  </a:lnTo>
                  <a:lnTo>
                    <a:pt x="0" y="21600"/>
                  </a:lnTo>
                  <a:cubicBezTo>
                    <a:pt x="0" y="21600"/>
                    <a:pt x="0" y="0"/>
                    <a:pt x="0" y="0"/>
                  </a:cubicBezTo>
                  <a:close/>
                  <a:moveTo>
                    <a:pt x="0" y="0"/>
                  </a:move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41" name="AutoShape 58">
              <a:extLst>
                <a:ext uri="{FF2B5EF4-FFF2-40B4-BE49-F238E27FC236}">
                  <a16:creationId xmlns:a16="http://schemas.microsoft.com/office/drawing/2014/main" id="{D7AF6792-2F4E-48DF-B827-190D9D1EE487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98100" y="11074400"/>
              <a:ext cx="1512888" cy="1538288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15108" y="8514"/>
                  </a:moveTo>
                  <a:cubicBezTo>
                    <a:pt x="14988" y="5794"/>
                    <a:pt x="13585" y="4376"/>
                    <a:pt x="11100" y="4376"/>
                  </a:cubicBezTo>
                  <a:cubicBezTo>
                    <a:pt x="8776" y="4376"/>
                    <a:pt x="7213" y="5873"/>
                    <a:pt x="6813" y="8514"/>
                  </a:cubicBezTo>
                  <a:cubicBezTo>
                    <a:pt x="6813" y="8514"/>
                    <a:pt x="15108" y="8514"/>
                    <a:pt x="15108" y="8514"/>
                  </a:cubicBezTo>
                  <a:close/>
                  <a:moveTo>
                    <a:pt x="0" y="11076"/>
                  </a:moveTo>
                  <a:lnTo>
                    <a:pt x="0" y="10761"/>
                  </a:lnTo>
                  <a:cubicBezTo>
                    <a:pt x="0" y="4179"/>
                    <a:pt x="4849" y="0"/>
                    <a:pt x="11100" y="0"/>
                  </a:cubicBezTo>
                  <a:cubicBezTo>
                    <a:pt x="16711" y="0"/>
                    <a:pt x="21600" y="3153"/>
                    <a:pt x="21600" y="10564"/>
                  </a:cubicBezTo>
                  <a:lnTo>
                    <a:pt x="21600" y="12338"/>
                  </a:lnTo>
                  <a:lnTo>
                    <a:pt x="6732" y="12338"/>
                  </a:lnTo>
                  <a:cubicBezTo>
                    <a:pt x="6933" y="15294"/>
                    <a:pt x="8616" y="17028"/>
                    <a:pt x="11421" y="17028"/>
                  </a:cubicBezTo>
                  <a:cubicBezTo>
                    <a:pt x="13906" y="17028"/>
                    <a:pt x="15028" y="15963"/>
                    <a:pt x="15308" y="14426"/>
                  </a:cubicBezTo>
                  <a:lnTo>
                    <a:pt x="21600" y="14426"/>
                  </a:lnTo>
                  <a:cubicBezTo>
                    <a:pt x="20919" y="18999"/>
                    <a:pt x="17312" y="21600"/>
                    <a:pt x="11181" y="21600"/>
                  </a:cubicBezTo>
                  <a:cubicBezTo>
                    <a:pt x="4729" y="21600"/>
                    <a:pt x="0" y="17738"/>
                    <a:pt x="0" y="11076"/>
                  </a:cubicBezTo>
                  <a:close/>
                  <a:moveTo>
                    <a:pt x="0" y="11076"/>
                  </a:move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42" name="AutoShape 59">
              <a:extLst>
                <a:ext uri="{FF2B5EF4-FFF2-40B4-BE49-F238E27FC236}">
                  <a16:creationId xmlns:a16="http://schemas.microsoft.com/office/drawing/2014/main" id="{58DCE6A4-7734-42E5-9B2A-2A39F1D2CCD3}"/>
                </a:ext>
              </a:extLst>
            </p:cNvPr>
            <p:cNvSpPr>
              <a:spLocks/>
            </p:cNvSpPr>
            <p:nvPr/>
          </p:nvSpPr>
          <p:spPr bwMode="auto">
            <a:xfrm>
              <a:off x="11836400" y="12077700"/>
              <a:ext cx="549275" cy="538163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0" y="10801"/>
                  </a:moveTo>
                  <a:cubicBezTo>
                    <a:pt x="0" y="4838"/>
                    <a:pt x="4519" y="0"/>
                    <a:pt x="10690" y="0"/>
                  </a:cubicBezTo>
                  <a:cubicBezTo>
                    <a:pt x="16972" y="0"/>
                    <a:pt x="21600" y="4838"/>
                    <a:pt x="21600" y="10801"/>
                  </a:cubicBezTo>
                  <a:cubicBezTo>
                    <a:pt x="21600" y="16762"/>
                    <a:pt x="16972" y="21600"/>
                    <a:pt x="10690" y="21600"/>
                  </a:cubicBezTo>
                  <a:cubicBezTo>
                    <a:pt x="4519" y="21600"/>
                    <a:pt x="0" y="16762"/>
                    <a:pt x="0" y="10801"/>
                  </a:cubicBezTo>
                  <a:close/>
                  <a:moveTo>
                    <a:pt x="0" y="10801"/>
                  </a:move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43" name="AutoShape 60">
              <a:extLst>
                <a:ext uri="{FF2B5EF4-FFF2-40B4-BE49-F238E27FC236}">
                  <a16:creationId xmlns:a16="http://schemas.microsoft.com/office/drawing/2014/main" id="{B35304AA-E820-4F74-8DA7-DD0C368142E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836400" y="11074400"/>
              <a:ext cx="373063" cy="187325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10379" y="0"/>
                  </a:moveTo>
                  <a:lnTo>
                    <a:pt x="12973" y="0"/>
                  </a:lnTo>
                  <a:lnTo>
                    <a:pt x="16009" y="15160"/>
                  </a:lnTo>
                  <a:lnTo>
                    <a:pt x="18972" y="0"/>
                  </a:lnTo>
                  <a:lnTo>
                    <a:pt x="21600" y="0"/>
                  </a:lnTo>
                  <a:lnTo>
                    <a:pt x="21600" y="21600"/>
                  </a:lnTo>
                  <a:lnTo>
                    <a:pt x="19715" y="21600"/>
                  </a:lnTo>
                  <a:lnTo>
                    <a:pt x="19715" y="4759"/>
                  </a:lnTo>
                  <a:lnTo>
                    <a:pt x="16243" y="21600"/>
                  </a:lnTo>
                  <a:lnTo>
                    <a:pt x="15604" y="21600"/>
                  </a:lnTo>
                  <a:lnTo>
                    <a:pt x="12097" y="4759"/>
                  </a:lnTo>
                  <a:lnTo>
                    <a:pt x="12097" y="21600"/>
                  </a:lnTo>
                  <a:lnTo>
                    <a:pt x="10379" y="21600"/>
                  </a:lnTo>
                  <a:cubicBezTo>
                    <a:pt x="10379" y="21600"/>
                    <a:pt x="10379" y="0"/>
                    <a:pt x="10379" y="0"/>
                  </a:cubicBezTo>
                  <a:close/>
                  <a:moveTo>
                    <a:pt x="3302" y="2953"/>
                  </a:moveTo>
                  <a:lnTo>
                    <a:pt x="0" y="2953"/>
                  </a:lnTo>
                  <a:lnTo>
                    <a:pt x="0" y="0"/>
                  </a:lnTo>
                  <a:lnTo>
                    <a:pt x="8460" y="0"/>
                  </a:lnTo>
                  <a:lnTo>
                    <a:pt x="8460" y="2953"/>
                  </a:lnTo>
                  <a:lnTo>
                    <a:pt x="5190" y="2953"/>
                  </a:lnTo>
                  <a:lnTo>
                    <a:pt x="5190" y="21600"/>
                  </a:lnTo>
                  <a:lnTo>
                    <a:pt x="3302" y="21600"/>
                  </a:lnTo>
                  <a:cubicBezTo>
                    <a:pt x="3302" y="21600"/>
                    <a:pt x="3302" y="2953"/>
                    <a:pt x="3302" y="2953"/>
                  </a:cubicBezTo>
                  <a:close/>
                  <a:moveTo>
                    <a:pt x="3302" y="2953"/>
                  </a:move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</p:grpSp>
      <p:cxnSp>
        <p:nvCxnSpPr>
          <p:cNvPr id="47" name="Straight Connector 46">
            <a:extLst>
              <a:ext uri="{FF2B5EF4-FFF2-40B4-BE49-F238E27FC236}">
                <a16:creationId xmlns:a16="http://schemas.microsoft.com/office/drawing/2014/main" id="{9EA166A3-BDB1-4B4C-A691-0975E59F913D}"/>
              </a:ext>
            </a:extLst>
          </p:cNvPr>
          <p:cNvCxnSpPr>
            <a:cxnSpLocks/>
          </p:cNvCxnSpPr>
          <p:nvPr userDrawn="1"/>
        </p:nvCxnSpPr>
        <p:spPr>
          <a:xfrm>
            <a:off x="202791" y="6584457"/>
            <a:ext cx="11810139" cy="0"/>
          </a:xfrm>
          <a:prstGeom prst="line">
            <a:avLst/>
          </a:prstGeom>
          <a:ln w="158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Footer Placeholder 50">
            <a:extLst>
              <a:ext uri="{FF2B5EF4-FFF2-40B4-BE49-F238E27FC236}">
                <a16:creationId xmlns:a16="http://schemas.microsoft.com/office/drawing/2014/main" id="{BED14AAE-4404-46FE-A0CF-252B50AD308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SAMPLE FOOTER TEXT</a:t>
            </a:r>
          </a:p>
        </p:txBody>
      </p:sp>
      <p:sp>
        <p:nvSpPr>
          <p:cNvPr id="52" name="Slide Number Placeholder 51">
            <a:extLst>
              <a:ext uri="{FF2B5EF4-FFF2-40B4-BE49-F238E27FC236}">
                <a16:creationId xmlns:a16="http://schemas.microsoft.com/office/drawing/2014/main" id="{0A6D4D00-F599-4B2E-831F-5E94FEDB3EF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8C09DA5-8C43-4702-8900-F4900F7A89A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5" name="Text Placeholder 18">
            <a:extLst>
              <a:ext uri="{FF2B5EF4-FFF2-40B4-BE49-F238E27FC236}">
                <a16:creationId xmlns:a16="http://schemas.microsoft.com/office/drawing/2014/main" id="{3D6A9FB1-A960-4D28-8782-350767C17841}"/>
              </a:ext>
            </a:extLst>
          </p:cNvPr>
          <p:cNvSpPr txBox="1">
            <a:spLocks/>
          </p:cNvSpPr>
          <p:nvPr userDrawn="1"/>
        </p:nvSpPr>
        <p:spPr>
          <a:xfrm>
            <a:off x="202791" y="6644501"/>
            <a:ext cx="7113587" cy="148983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defPPr>
              <a:defRPr lang="en-US"/>
            </a:defPPr>
            <a:lvl1pPr>
              <a:defRPr sz="600" cap="all" baseline="0"/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en-US" sz="700" b="1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</a:rPr>
              <a:t>BEST BUY  </a:t>
            </a:r>
            <a:r>
              <a:rPr lang="en-US" sz="70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</a:rPr>
              <a:t>INTERNAL USE ONLY. DO NOT COPY, PUBLISH OR DISTRIBUTE. THE MATERIAL IN THIS DOCUMENT IS CONFIDENTIAL TO BEST BUY.</a:t>
            </a:r>
          </a:p>
        </p:txBody>
      </p:sp>
      <p:pic>
        <p:nvPicPr>
          <p:cNvPr id="44" name="Graphic 43">
            <a:extLst>
              <a:ext uri="{FF2B5EF4-FFF2-40B4-BE49-F238E27FC236}">
                <a16:creationId xmlns:a16="http://schemas.microsoft.com/office/drawing/2014/main" id="{55292EAF-954B-4684-8007-01F31E05D38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31044" y="6187411"/>
            <a:ext cx="560538" cy="3279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59525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72CB5F4B-8A39-A61E-2032-1D76F2BA057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65251888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72CB5F4B-8A39-A61E-2032-1D76F2BA057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1">
            <a:extLst>
              <a:ext uri="{FF2B5EF4-FFF2-40B4-BE49-F238E27FC236}">
                <a16:creationId xmlns:a16="http://schemas.microsoft.com/office/drawing/2014/main" id="{A79A1053-6076-236F-3014-CF947DC7C7EC}"/>
              </a:ext>
            </a:extLst>
          </p:cNvPr>
          <p:cNvSpPr txBox="1">
            <a:spLocks/>
          </p:cNvSpPr>
          <p:nvPr userDrawn="1"/>
        </p:nvSpPr>
        <p:spPr>
          <a:xfrm>
            <a:off x="342900" y="1371600"/>
            <a:ext cx="11524634" cy="4686301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6350" lvl="0" indent="0">
              <a:lnSpc>
                <a:spcPct val="90000"/>
              </a:lnSpc>
              <a:spcBef>
                <a:spcPts val="180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None/>
              <a:tabLst/>
              <a:defRPr sz="2200"/>
            </a:lvl1pPr>
            <a:lvl2pPr marL="404813" indent="-171450">
              <a:lnSpc>
                <a:spcPct val="90000"/>
              </a:lnSpc>
              <a:spcBef>
                <a:spcPts val="600"/>
              </a:spcBef>
              <a:spcAft>
                <a:spcPts val="1200"/>
              </a:spcAft>
              <a:buClr>
                <a:schemeClr val="accent1"/>
              </a:buClr>
              <a:buSzPct val="110000"/>
              <a:buFont typeface="Human BBY Office" pitchFamily="2" charset="0"/>
              <a:buChar char="›"/>
              <a:tabLst/>
              <a:defRPr/>
            </a:lvl2pPr>
            <a:lvl3pPr marL="630238" indent="-17145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90000"/>
              <a:buFont typeface="Arial" charset="0"/>
              <a:buChar char="•"/>
              <a:tabLst/>
              <a:defRPr sz="2000"/>
            </a:lvl3pPr>
            <a:lvl4pPr marL="857250" indent="-17145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Human BBY Office" pitchFamily="2" charset="0"/>
              <a:buChar char="›"/>
              <a:tabLst/>
              <a:defRPr/>
            </a:lvl4pPr>
            <a:lvl5pPr marL="1090613" indent="-17145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90000"/>
              <a:buFont typeface="Arial" charset="0"/>
              <a:buChar char="•"/>
              <a:tabLst/>
              <a:defRPr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/>
            </a:lvl9pPr>
          </a:lstStyle>
          <a:p>
            <a:pPr lvl="0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77706E3-20F4-8012-29F8-A97BD2C248B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3287228-06B7-915F-57A2-A87773C4887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8C09DA5-8C43-4702-8900-F4900F7A89A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8589F0A-55EB-8C0B-2F4D-A0F64895E2D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SAMPLE FOOTER TEXT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E8E55DB6-8B50-42DD-320C-3E20C686637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42900" y="1371600"/>
            <a:ext cx="11506200" cy="4686301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8DDA81C3-F2C2-CC5B-1CDB-E5A530C695FC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208184" y="6199285"/>
            <a:ext cx="560538" cy="3274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5225644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ADAAFE6C-20FC-DD6D-236E-8E9DF91D1C7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4009135266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7772400" imgH="10058400" progId="TCLayout.ActiveDocument.1">
                  <p:embed/>
                </p:oleObj>
              </mc:Choice>
              <mc:Fallback>
                <p:oleObj name="think-cell Slide" r:id="rId7" imgW="7772400" imgH="10058400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ADAAFE6C-20FC-DD6D-236E-8E9DF91D1C7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C2A4C714-88DC-47D6-80A8-F679908A1DC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2900" y="293913"/>
            <a:ext cx="11524634" cy="557805"/>
          </a:xfrm>
          <a:prstGeom prst="rect">
            <a:avLst/>
          </a:prstGeom>
          <a:noFill/>
        </p:spPr>
        <p:txBody>
          <a:bodyPr vert="horz" lIns="0" tIns="0" rIns="0" bIns="0" rtlCol="0" anchor="ctr" anchorCtr="0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89D9FFC-939C-48EE-BEC6-E87A3DBA593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42900" y="1371600"/>
            <a:ext cx="11506200" cy="4686301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0EDB779-3D5B-4156-A59F-A465E48AEDE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96226" y="6647867"/>
            <a:ext cx="211097" cy="150767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lang="en-US" sz="700" cap="all" baseline="0" smtClean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C8C09DA5-8C43-4702-8900-F4900F7A89A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Text Placeholder 18">
            <a:extLst>
              <a:ext uri="{FF2B5EF4-FFF2-40B4-BE49-F238E27FC236}">
                <a16:creationId xmlns:a16="http://schemas.microsoft.com/office/drawing/2014/main" id="{87BC8725-30AB-4C6C-BA72-0A9E69C1E3DD}"/>
              </a:ext>
            </a:extLst>
          </p:cNvPr>
          <p:cNvSpPr txBox="1">
            <a:spLocks/>
          </p:cNvSpPr>
          <p:nvPr userDrawn="1"/>
        </p:nvSpPr>
        <p:spPr>
          <a:xfrm>
            <a:off x="202791" y="6644501"/>
            <a:ext cx="7113587" cy="148983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defPPr>
              <a:defRPr lang="en-US"/>
            </a:defPPr>
            <a:lvl1pPr>
              <a:defRPr sz="600" cap="all" baseline="0"/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en-US" sz="700" b="1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</a:rPr>
              <a:t>BEST BUY  </a:t>
            </a:r>
            <a:r>
              <a:rPr lang="en-US" sz="70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</a:rPr>
              <a:t>INTERNAL USE ONLY. DO NOT COPY, PUBLISH OR DISTRIBUTE. THE MATERIAL IN THIS DOCUMENT IS CONFIDENTIAL TO BEST BUY.</a:t>
            </a:r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CE8ECC27-01D5-4E5F-9913-A0846ABD814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665720" y="6647867"/>
            <a:ext cx="3775547" cy="150767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lang="en-US" sz="700" cap="all" baseline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en-US"/>
              <a:t>SAMPLE FOOTER TEXT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CF81472F-08A1-41E7-90D5-DF2F918E8DAC}"/>
              </a:ext>
            </a:extLst>
          </p:cNvPr>
          <p:cNvCxnSpPr/>
          <p:nvPr userDrawn="1"/>
        </p:nvCxnSpPr>
        <p:spPr>
          <a:xfrm>
            <a:off x="337185" y="872762"/>
            <a:ext cx="11524634" cy="0"/>
          </a:xfrm>
          <a:prstGeom prst="line">
            <a:avLst/>
          </a:prstGeom>
          <a:ln w="158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AF86D77D-3A11-491C-9129-68A32A20D05E}"/>
              </a:ext>
            </a:extLst>
          </p:cNvPr>
          <p:cNvCxnSpPr>
            <a:cxnSpLocks/>
          </p:cNvCxnSpPr>
          <p:nvPr userDrawn="1"/>
        </p:nvCxnSpPr>
        <p:spPr>
          <a:xfrm>
            <a:off x="202791" y="6584457"/>
            <a:ext cx="11810139" cy="0"/>
          </a:xfrm>
          <a:prstGeom prst="line">
            <a:avLst/>
          </a:prstGeom>
          <a:ln w="158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563106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</p:sldLayoutIdLst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hf hdr="0" ftr="0" dt="0"/>
  <p:txStyles>
    <p:titleStyle>
      <a:lvl1pPr algn="l" defTabSz="914400" rtl="0" eaLnBrk="1" latinLnBrk="0" hangingPunct="1">
        <a:lnSpc>
          <a:spcPct val="80000"/>
        </a:lnSpc>
        <a:spcBef>
          <a:spcPct val="0"/>
        </a:spcBef>
        <a:buNone/>
        <a:defRPr sz="40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171450" indent="-165100" algn="l" defTabSz="914400" rtl="0" eaLnBrk="1" latinLnBrk="0" hangingPunct="1">
        <a:lnSpc>
          <a:spcPct val="90000"/>
        </a:lnSpc>
        <a:spcBef>
          <a:spcPts val="1800"/>
        </a:spcBef>
        <a:spcAft>
          <a:spcPts val="0"/>
        </a:spcAft>
        <a:buClr>
          <a:schemeClr val="accent1"/>
        </a:buClr>
        <a:buSzPct val="100000"/>
        <a:buFont typeface="Arial" panose="020B0604020202020204" pitchFamily="34" charset="0"/>
        <a:buChar char="•"/>
        <a:tabLst/>
        <a:defRPr sz="2200" kern="1200">
          <a:solidFill>
            <a:schemeClr val="tx1"/>
          </a:solidFill>
          <a:latin typeface="+mn-lt"/>
          <a:ea typeface="+mn-ea"/>
          <a:cs typeface="+mn-cs"/>
        </a:defRPr>
      </a:lvl1pPr>
      <a:lvl2pPr marL="404813" indent="-171450" algn="l" defTabSz="914400" rtl="0" eaLnBrk="1" latinLnBrk="0" hangingPunct="1">
        <a:lnSpc>
          <a:spcPct val="90000"/>
        </a:lnSpc>
        <a:spcBef>
          <a:spcPts val="600"/>
        </a:spcBef>
        <a:spcAft>
          <a:spcPts val="1200"/>
        </a:spcAft>
        <a:buClr>
          <a:schemeClr val="accent1"/>
        </a:buClr>
        <a:buSzPct val="110000"/>
        <a:buFont typeface="Human BBY Office" pitchFamily="2" charset="0"/>
        <a:buChar char="›"/>
        <a:tabLst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630238" indent="-17145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accent1"/>
        </a:buClr>
        <a:buSzPct val="90000"/>
        <a:buFont typeface="Arial" charset="0"/>
        <a:buChar char="•"/>
        <a:tabLst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857250" indent="-17145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accent1"/>
        </a:buClr>
        <a:buSzPct val="100000"/>
        <a:buFont typeface="Human BBY Office" pitchFamily="2" charset="0"/>
        <a:buChar char="›"/>
        <a:tabLst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090613" indent="-17145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accent1"/>
        </a:buClr>
        <a:buSzPct val="90000"/>
        <a:buFont typeface="Arial" charset="0"/>
        <a:buChar char="•"/>
        <a:tabLst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840">
          <p15:clr>
            <a:srgbClr val="F26B43"/>
          </p15:clr>
        </p15:guide>
        <p15:guide id="2" orient="horz" pos="2160">
          <p15:clr>
            <a:srgbClr val="F26B43"/>
          </p15:clr>
        </p15:guide>
        <p15:guide id="3" pos="528">
          <p15:clr>
            <a:srgbClr val="F26B43"/>
          </p15:clr>
        </p15:guide>
        <p15:guide id="5" pos="7474">
          <p15:clr>
            <a:srgbClr val="F26B43"/>
          </p15:clr>
        </p15:guide>
        <p15:guide id="6" pos="7152">
          <p15:clr>
            <a:srgbClr val="F26B43"/>
          </p15:clr>
        </p15:guide>
        <p15:guide id="7" pos="3816">
          <p15:clr>
            <a:srgbClr val="F26B43"/>
          </p15:clr>
        </p15:guide>
        <p15:guide id="8" pos="3864">
          <p15:clr>
            <a:srgbClr val="F26B43"/>
          </p15:clr>
        </p15:guide>
        <p15:guide id="9" orient="horz" pos="432">
          <p15:clr>
            <a:srgbClr val="F26B43"/>
          </p15:clr>
        </p15:guide>
        <p15:guide id="14" orient="horz" pos="2016">
          <p15:clr>
            <a:srgbClr val="F26B43"/>
          </p15:clr>
        </p15:guide>
        <p15:guide id="15" orient="horz" pos="2304">
          <p15:clr>
            <a:srgbClr val="F26B43"/>
          </p15:clr>
        </p15:guide>
        <p15:guide id="16" orient="horz" pos="3826">
          <p15:clr>
            <a:srgbClr val="F26B43"/>
          </p15:clr>
        </p15:guide>
        <p15:guide id="20" orient="horz" pos="862">
          <p15:clr>
            <a:srgbClr val="F26B43"/>
          </p15:clr>
        </p15:guide>
        <p15:guide id="21" orient="horz" pos="4142">
          <p15:clr>
            <a:srgbClr val="F26B43"/>
          </p15:clr>
        </p15:guide>
        <p15:guide id="22" pos="206">
          <p15:clr>
            <a:srgbClr val="F26B43"/>
          </p15:clr>
        </p15:guide>
        <p15:guide id="23" orient="horz" pos="18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jpeg"/><Relationship Id="rId3" Type="http://schemas.openxmlformats.org/officeDocument/2006/relationships/oleObject" Target="../embeddings/oleObject3.bin"/><Relationship Id="rId7" Type="http://schemas.openxmlformats.org/officeDocument/2006/relationships/image" Target="../media/image10.jpe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4.xml"/><Relationship Id="rId6" Type="http://schemas.openxmlformats.org/officeDocument/2006/relationships/image" Target="../media/image9.jpeg"/><Relationship Id="rId5" Type="http://schemas.openxmlformats.org/officeDocument/2006/relationships/image" Target="../media/image8.jpeg"/><Relationship Id="rId4" Type="http://schemas.openxmlformats.org/officeDocument/2006/relationships/image" Target="../media/image7.emf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5.xml"/><Relationship Id="rId5" Type="http://schemas.openxmlformats.org/officeDocument/2006/relationships/image" Target="../media/image13.png"/><Relationship Id="rId4" Type="http://schemas.openxmlformats.org/officeDocument/2006/relationships/image" Target="../media/image12.emf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3" Type="http://schemas.openxmlformats.org/officeDocument/2006/relationships/oleObject" Target="../embeddings/oleObject5.bin"/><Relationship Id="rId7" Type="http://schemas.openxmlformats.org/officeDocument/2006/relationships/image" Target="../media/image17.pn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6.xml"/><Relationship Id="rId6" Type="http://schemas.openxmlformats.org/officeDocument/2006/relationships/image" Target="../media/image16.png"/><Relationship Id="rId5" Type="http://schemas.openxmlformats.org/officeDocument/2006/relationships/image" Target="../media/image15.png"/><Relationship Id="rId4" Type="http://schemas.openxmlformats.org/officeDocument/2006/relationships/image" Target="../media/image14.emf"/></Relationships>
</file>

<file path=ppt/slides/_rels/slide4.xml.rels><?xml version="1.0" encoding="UTF-8" standalone="yes"?>
<Relationships xmlns="http://schemas.openxmlformats.org/package/2006/relationships"><Relationship Id="rId13" Type="http://schemas.openxmlformats.org/officeDocument/2006/relationships/tags" Target="../tags/tag19.xml"/><Relationship Id="rId18" Type="http://schemas.openxmlformats.org/officeDocument/2006/relationships/tags" Target="../tags/tag24.xml"/><Relationship Id="rId26" Type="http://schemas.openxmlformats.org/officeDocument/2006/relationships/tags" Target="../tags/tag32.xml"/><Relationship Id="rId39" Type="http://schemas.openxmlformats.org/officeDocument/2006/relationships/notesSlide" Target="../notesSlides/notesSlide1.xml"/><Relationship Id="rId21" Type="http://schemas.openxmlformats.org/officeDocument/2006/relationships/tags" Target="../tags/tag27.xml"/><Relationship Id="rId34" Type="http://schemas.openxmlformats.org/officeDocument/2006/relationships/tags" Target="../tags/tag40.xml"/><Relationship Id="rId42" Type="http://schemas.openxmlformats.org/officeDocument/2006/relationships/image" Target="../media/image20.png"/><Relationship Id="rId7" Type="http://schemas.openxmlformats.org/officeDocument/2006/relationships/tags" Target="../tags/tag13.xml"/><Relationship Id="rId2" Type="http://schemas.openxmlformats.org/officeDocument/2006/relationships/tags" Target="../tags/tag8.xml"/><Relationship Id="rId16" Type="http://schemas.openxmlformats.org/officeDocument/2006/relationships/tags" Target="../tags/tag22.xml"/><Relationship Id="rId29" Type="http://schemas.openxmlformats.org/officeDocument/2006/relationships/tags" Target="../tags/tag35.xml"/><Relationship Id="rId1" Type="http://schemas.openxmlformats.org/officeDocument/2006/relationships/tags" Target="../tags/tag7.xml"/><Relationship Id="rId6" Type="http://schemas.openxmlformats.org/officeDocument/2006/relationships/tags" Target="../tags/tag12.xml"/><Relationship Id="rId11" Type="http://schemas.openxmlformats.org/officeDocument/2006/relationships/tags" Target="../tags/tag17.xml"/><Relationship Id="rId24" Type="http://schemas.openxmlformats.org/officeDocument/2006/relationships/tags" Target="../tags/tag30.xml"/><Relationship Id="rId32" Type="http://schemas.openxmlformats.org/officeDocument/2006/relationships/tags" Target="../tags/tag38.xml"/><Relationship Id="rId37" Type="http://schemas.openxmlformats.org/officeDocument/2006/relationships/tags" Target="../tags/tag43.xml"/><Relationship Id="rId40" Type="http://schemas.openxmlformats.org/officeDocument/2006/relationships/oleObject" Target="../embeddings/oleObject6.bin"/><Relationship Id="rId45" Type="http://schemas.openxmlformats.org/officeDocument/2006/relationships/image" Target="../media/image23.png"/><Relationship Id="rId5" Type="http://schemas.openxmlformats.org/officeDocument/2006/relationships/tags" Target="../tags/tag11.xml"/><Relationship Id="rId15" Type="http://schemas.openxmlformats.org/officeDocument/2006/relationships/tags" Target="../tags/tag21.xml"/><Relationship Id="rId23" Type="http://schemas.openxmlformats.org/officeDocument/2006/relationships/tags" Target="../tags/tag29.xml"/><Relationship Id="rId28" Type="http://schemas.openxmlformats.org/officeDocument/2006/relationships/tags" Target="../tags/tag34.xml"/><Relationship Id="rId36" Type="http://schemas.openxmlformats.org/officeDocument/2006/relationships/tags" Target="../tags/tag42.xml"/><Relationship Id="rId10" Type="http://schemas.openxmlformats.org/officeDocument/2006/relationships/tags" Target="../tags/tag16.xml"/><Relationship Id="rId19" Type="http://schemas.openxmlformats.org/officeDocument/2006/relationships/tags" Target="../tags/tag25.xml"/><Relationship Id="rId31" Type="http://schemas.openxmlformats.org/officeDocument/2006/relationships/tags" Target="../tags/tag37.xml"/><Relationship Id="rId44" Type="http://schemas.openxmlformats.org/officeDocument/2006/relationships/image" Target="../media/image22.png"/><Relationship Id="rId4" Type="http://schemas.openxmlformats.org/officeDocument/2006/relationships/tags" Target="../tags/tag10.xml"/><Relationship Id="rId9" Type="http://schemas.openxmlformats.org/officeDocument/2006/relationships/tags" Target="../tags/tag15.xml"/><Relationship Id="rId14" Type="http://schemas.openxmlformats.org/officeDocument/2006/relationships/tags" Target="../tags/tag20.xml"/><Relationship Id="rId22" Type="http://schemas.openxmlformats.org/officeDocument/2006/relationships/tags" Target="../tags/tag28.xml"/><Relationship Id="rId27" Type="http://schemas.openxmlformats.org/officeDocument/2006/relationships/tags" Target="../tags/tag33.xml"/><Relationship Id="rId30" Type="http://schemas.openxmlformats.org/officeDocument/2006/relationships/tags" Target="../tags/tag36.xml"/><Relationship Id="rId35" Type="http://schemas.openxmlformats.org/officeDocument/2006/relationships/tags" Target="../tags/tag41.xml"/><Relationship Id="rId43" Type="http://schemas.openxmlformats.org/officeDocument/2006/relationships/image" Target="../media/image21.svg"/><Relationship Id="rId8" Type="http://schemas.openxmlformats.org/officeDocument/2006/relationships/tags" Target="../tags/tag14.xml"/><Relationship Id="rId3" Type="http://schemas.openxmlformats.org/officeDocument/2006/relationships/tags" Target="../tags/tag9.xml"/><Relationship Id="rId12" Type="http://schemas.openxmlformats.org/officeDocument/2006/relationships/tags" Target="../tags/tag18.xml"/><Relationship Id="rId17" Type="http://schemas.openxmlformats.org/officeDocument/2006/relationships/tags" Target="../tags/tag23.xml"/><Relationship Id="rId25" Type="http://schemas.openxmlformats.org/officeDocument/2006/relationships/tags" Target="../tags/tag31.xml"/><Relationship Id="rId33" Type="http://schemas.openxmlformats.org/officeDocument/2006/relationships/tags" Target="../tags/tag39.xml"/><Relationship Id="rId38" Type="http://schemas.openxmlformats.org/officeDocument/2006/relationships/slideLayout" Target="../slideLayouts/slideLayout4.xml"/><Relationship Id="rId20" Type="http://schemas.openxmlformats.org/officeDocument/2006/relationships/tags" Target="../tags/tag26.xml"/><Relationship Id="rId41" Type="http://schemas.openxmlformats.org/officeDocument/2006/relationships/image" Target="../media/image19.emf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7" Type="http://schemas.openxmlformats.org/officeDocument/2006/relationships/image" Target="../media/image26.pn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44.xml"/><Relationship Id="rId6" Type="http://schemas.openxmlformats.org/officeDocument/2006/relationships/image" Target="../media/image25.png"/><Relationship Id="rId5" Type="http://schemas.openxmlformats.org/officeDocument/2006/relationships/image" Target="../media/image24.png"/><Relationship Id="rId4" Type="http://schemas.openxmlformats.org/officeDocument/2006/relationships/image" Target="../media/image19.emf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45.xml"/><Relationship Id="rId5" Type="http://schemas.openxmlformats.org/officeDocument/2006/relationships/image" Target="../media/image27.png"/><Relationship Id="rId4" Type="http://schemas.openxmlformats.org/officeDocument/2006/relationships/image" Target="../media/image19.emf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1.svg"/><Relationship Id="rId3" Type="http://schemas.openxmlformats.org/officeDocument/2006/relationships/oleObject" Target="../embeddings/oleObject9.bin"/><Relationship Id="rId7" Type="http://schemas.openxmlformats.org/officeDocument/2006/relationships/image" Target="../media/image30.pn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46.xml"/><Relationship Id="rId6" Type="http://schemas.openxmlformats.org/officeDocument/2006/relationships/image" Target="../media/image29.svg"/><Relationship Id="rId5" Type="http://schemas.openxmlformats.org/officeDocument/2006/relationships/image" Target="../media/image28.png"/><Relationship Id="rId10" Type="http://schemas.openxmlformats.org/officeDocument/2006/relationships/image" Target="../media/image33.svg"/><Relationship Id="rId4" Type="http://schemas.openxmlformats.org/officeDocument/2006/relationships/image" Target="../media/image19.emf"/><Relationship Id="rId9" Type="http://schemas.openxmlformats.org/officeDocument/2006/relationships/image" Target="../media/image32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7" Type="http://schemas.openxmlformats.org/officeDocument/2006/relationships/image" Target="../media/image5.sv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47.xml"/><Relationship Id="rId6" Type="http://schemas.openxmlformats.org/officeDocument/2006/relationships/image" Target="../media/image4.png"/><Relationship Id="rId5" Type="http://schemas.openxmlformats.org/officeDocument/2006/relationships/image" Target="../media/image35.png"/><Relationship Id="rId4" Type="http://schemas.openxmlformats.org/officeDocument/2006/relationships/image" Target="../media/image34.emf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48.xml"/><Relationship Id="rId6" Type="http://schemas.openxmlformats.org/officeDocument/2006/relationships/image" Target="../media/image38.png"/><Relationship Id="rId5" Type="http://schemas.openxmlformats.org/officeDocument/2006/relationships/image" Target="../media/image37.png"/><Relationship Id="rId4" Type="http://schemas.openxmlformats.org/officeDocument/2006/relationships/image" Target="../media/image36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59FBF9B4-4C5D-5E55-FEF0-B1FC6F5C93F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53907305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59FBF9B4-4C5D-5E55-FEF0-B1FC6F5C93F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id="{60C8EDD6-2164-DDAD-902B-BF480660773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13700335"/>
              </p:ext>
            </p:extLst>
          </p:nvPr>
        </p:nvGraphicFramePr>
        <p:xfrm>
          <a:off x="844775" y="3670052"/>
          <a:ext cx="8461351" cy="191211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461351">
                  <a:extLst>
                    <a:ext uri="{9D8B030D-6E8A-4147-A177-3AD203B41FA5}">
                      <a16:colId xmlns:a16="http://schemas.microsoft.com/office/drawing/2014/main" val="1082404452"/>
                    </a:ext>
                  </a:extLst>
                </a:gridCol>
              </a:tblGrid>
              <a:tr h="1912114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7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7200" b="1" i="0" u="none" strike="noStrike" kern="1200" cap="none" spc="0" normalizeH="0" baseline="0" noProof="0">
                        <a:ln>
                          <a:noFill/>
                        </a:ln>
                        <a:solidFill>
                          <a:schemeClr val="accent1"/>
                        </a:solidFill>
                        <a:effectLst/>
                        <a:uLnTx/>
                        <a:uFillTx/>
                        <a:latin typeface="Human BBY Office"/>
                        <a:ea typeface="+mn-ea"/>
                        <a:cs typeface="+mn-cs"/>
                      </a:endParaRPr>
                    </a:p>
                  </a:txBody>
                  <a:tcPr marL="0" marR="0" marT="457200" marB="182880">
                    <a:lnL w="12700" cmpd="sng">
                      <a:noFill/>
                    </a:lnL>
                    <a:lnR w="12700" cmpd="sng">
                      <a:noFill/>
                    </a:lnR>
                    <a:lnT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2331979"/>
                  </a:ext>
                </a:extLst>
              </a:tr>
            </a:tbl>
          </a:graphicData>
        </a:graphic>
      </p:graphicFrame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D5EE92DF-7A39-588A-214F-EC1D1E91DDD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8C09DA5-8C43-4702-8900-F4900F7A89AE}" type="slidenum">
              <a:rPr lang="en-US" smtClean="0"/>
              <a:pPr/>
              <a:t>1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0668A3DB-B413-1683-CDF0-724143C06E5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43018" y="3877205"/>
            <a:ext cx="9955611" cy="1508105"/>
          </a:xfrm>
        </p:spPr>
        <p:txBody>
          <a:bodyPr vert="horz"/>
          <a:lstStyle/>
          <a:p>
            <a:pPr>
              <a:lnSpc>
                <a:spcPct val="100000"/>
              </a:lnSpc>
              <a:spcAft>
                <a:spcPts val="1200"/>
              </a:spcAft>
            </a:pPr>
            <a:r>
              <a:rPr lang="en-US" sz="6600"/>
              <a:t>Scarce Prophets for Best Buy</a:t>
            </a:r>
            <a:br>
              <a:rPr lang="en-US"/>
            </a:br>
            <a:r>
              <a:rPr lang="en-US" sz="1600"/>
              <a:t>Sanchita Porwal, Sri Ravi Teja Kolipakula, Suraj Shourie &amp; Paul Jordan</a:t>
            </a:r>
            <a:br>
              <a:rPr lang="en-US" sz="1600"/>
            </a:br>
            <a:r>
              <a:rPr lang="en-US" sz="1600"/>
              <a:t>GT MSA Project Week Final Presentation | January 20, 2022</a:t>
            </a:r>
          </a:p>
        </p:txBody>
      </p:sp>
      <p:pic>
        <p:nvPicPr>
          <p:cNvPr id="37" name="Picture 36" descr="A person in a suit&#10;&#10;Description automatically generated with low confidence">
            <a:extLst>
              <a:ext uri="{FF2B5EF4-FFF2-40B4-BE49-F238E27FC236}">
                <a16:creationId xmlns:a16="http://schemas.microsoft.com/office/drawing/2014/main" id="{67EF921B-3E6E-6D24-4E71-1AB881BA84D1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18444" t="8367" r="26610" b="54006"/>
          <a:stretch/>
        </p:blipFill>
        <p:spPr>
          <a:xfrm>
            <a:off x="3628091" y="211674"/>
            <a:ext cx="1508760" cy="1550813"/>
          </a:xfrm>
          <a:prstGeom prst="ellipse">
            <a:avLst/>
          </a:prstGeom>
          <a:ln w="19050" cap="rnd">
            <a:noFill/>
          </a:ln>
          <a:effectLst/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</p:spPr>
      </p:pic>
      <p:pic>
        <p:nvPicPr>
          <p:cNvPr id="38" name="Picture 37" descr="A person smiling for the camera&#10;&#10;Description automatically generated with low confidence">
            <a:extLst>
              <a:ext uri="{FF2B5EF4-FFF2-40B4-BE49-F238E27FC236}">
                <a16:creationId xmlns:a16="http://schemas.microsoft.com/office/drawing/2014/main" id="{3463EA7B-637E-5B5B-123E-F6288FDF6193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296892" y="233028"/>
            <a:ext cx="1508105" cy="1508105"/>
          </a:xfrm>
          <a:prstGeom prst="ellipse">
            <a:avLst/>
          </a:prstGeom>
          <a:ln w="19050" cap="rnd">
            <a:noFill/>
          </a:ln>
          <a:effectLst/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</p:spPr>
      </p:pic>
      <p:pic>
        <p:nvPicPr>
          <p:cNvPr id="42" name="Picture 41">
            <a:extLst>
              <a:ext uri="{FF2B5EF4-FFF2-40B4-BE49-F238E27FC236}">
                <a16:creationId xmlns:a16="http://schemas.microsoft.com/office/drawing/2014/main" id="{06FCD972-B978-D778-463F-0E3398189606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8065522" y="233028"/>
            <a:ext cx="1508105" cy="1508105"/>
          </a:xfrm>
          <a:prstGeom prst="ellipse">
            <a:avLst/>
          </a:prstGeom>
          <a:ln w="19050" cap="rnd">
            <a:noFill/>
          </a:ln>
          <a:effectLst/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</p:spPr>
      </p:pic>
      <p:pic>
        <p:nvPicPr>
          <p:cNvPr id="4" name="Picture 5">
            <a:extLst>
              <a:ext uri="{FF2B5EF4-FFF2-40B4-BE49-F238E27FC236}">
                <a16:creationId xmlns:a16="http://schemas.microsoft.com/office/drawing/2014/main" id="{2AC385E7-B449-661D-8E84-8202BC07FB48}"/>
              </a:ext>
            </a:extLst>
          </p:cNvPr>
          <p:cNvPicPr>
            <a:picLocks/>
          </p:cNvPicPr>
          <p:nvPr/>
        </p:nvPicPr>
        <p:blipFill rotWithShape="1">
          <a:blip r:embed="rId8"/>
          <a:srcRect l="9513" t="8174" r="20560" b="45207"/>
          <a:stretch/>
        </p:blipFill>
        <p:spPr>
          <a:xfrm>
            <a:off x="5733668" y="211674"/>
            <a:ext cx="1508760" cy="1550813"/>
          </a:xfrm>
          <a:prstGeom prst="ellipse">
            <a:avLst/>
          </a:prstGeom>
          <a:ln w="19050" cap="rnd">
            <a:noFill/>
          </a:ln>
          <a:effectLst/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</p:spPr>
      </p:pic>
      <p:sp>
        <p:nvSpPr>
          <p:cNvPr id="43" name="TextBox 42">
            <a:extLst>
              <a:ext uri="{FF2B5EF4-FFF2-40B4-BE49-F238E27FC236}">
                <a16:creationId xmlns:a16="http://schemas.microsoft.com/office/drawing/2014/main" id="{2EE24C2B-21AC-DC56-7900-2E975A8F8B16}"/>
              </a:ext>
            </a:extLst>
          </p:cNvPr>
          <p:cNvSpPr txBox="1"/>
          <p:nvPr/>
        </p:nvSpPr>
        <p:spPr>
          <a:xfrm>
            <a:off x="844775" y="1838960"/>
            <a:ext cx="2412339" cy="89255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600" b="1"/>
              <a:t>Sanchita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n-US" sz="1400"/>
              <a:t>Feature engineering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n-US" sz="1400"/>
              <a:t>Modeling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n-US" sz="1400"/>
              <a:t>Insights &amp; recommendations</a:t>
            </a: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E08C17FB-6C5E-4E46-7049-9F0D1CCC3BAE}"/>
              </a:ext>
            </a:extLst>
          </p:cNvPr>
          <p:cNvSpPr txBox="1"/>
          <p:nvPr/>
        </p:nvSpPr>
        <p:spPr>
          <a:xfrm>
            <a:off x="3402251" y="1838960"/>
            <a:ext cx="1960440" cy="89255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600" b="1"/>
              <a:t>Ravi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n-US" sz="1400"/>
              <a:t>Problem formulation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n-US" sz="1400"/>
              <a:t>Feature engineering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n-US" sz="1400"/>
              <a:t>Modelling</a:t>
            </a: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CC3F9BA2-6A77-FAF8-79AA-0D639427B601}"/>
              </a:ext>
            </a:extLst>
          </p:cNvPr>
          <p:cNvSpPr txBox="1"/>
          <p:nvPr/>
        </p:nvSpPr>
        <p:spPr>
          <a:xfrm>
            <a:off x="5507828" y="1838960"/>
            <a:ext cx="1960440" cy="89255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600" b="1"/>
              <a:t>Suraj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n-US" sz="1400"/>
              <a:t>Feature engineering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n-US" sz="1400"/>
              <a:t>Modelling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n-US" sz="1400"/>
              <a:t>Visualizations</a:t>
            </a: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5895D03A-DCCE-68D7-C2E2-ECF7BDEF8417}"/>
              </a:ext>
            </a:extLst>
          </p:cNvPr>
          <p:cNvSpPr txBox="1"/>
          <p:nvPr/>
        </p:nvSpPr>
        <p:spPr>
          <a:xfrm>
            <a:off x="7613404" y="1838960"/>
            <a:ext cx="2412339" cy="89255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600" b="1"/>
              <a:t>Paul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n-US" sz="1400"/>
              <a:t>Data exploration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n-US" sz="1400"/>
              <a:t>Feature engineering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n-US" sz="1400"/>
              <a:t>Insights &amp; recommendations</a:t>
            </a:r>
          </a:p>
        </p:txBody>
      </p:sp>
    </p:spTree>
    <p:extLst>
      <p:ext uri="{BB962C8B-B14F-4D97-AF65-F5344CB8AC3E}">
        <p14:creationId xmlns:p14="http://schemas.microsoft.com/office/powerpoint/2010/main" val="217947201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DFD066C9-F483-5C1B-73AB-9AADA298E39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41032923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DFD066C9-F483-5C1B-73AB-9AADA298E39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050" name="Picture 2">
            <a:extLst>
              <a:ext uri="{FF2B5EF4-FFF2-40B4-BE49-F238E27FC236}">
                <a16:creationId xmlns:a16="http://schemas.microsoft.com/office/drawing/2014/main" id="{33F15D9E-B879-9753-7F0C-9C0BEC40A1F2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>
            <a:alphaModFix amt="3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9568"/>
          <a:stretch/>
        </p:blipFill>
        <p:spPr bwMode="auto">
          <a:xfrm>
            <a:off x="1788030" y="2933286"/>
            <a:ext cx="8615940" cy="3638676"/>
          </a:xfrm>
          <a:prstGeom prst="rect">
            <a:avLst/>
          </a:prstGeom>
          <a:solidFill>
            <a:schemeClr val="bg1"/>
          </a:solidFill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0FCA8915-49F5-B0A7-3E79-B63CE49D514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sz="2800"/>
              <a:t>Our highly accurate machine-learning model forecasts slow-selling SKU sales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F7F7694-9F2E-418D-9BB3-EE5CEB834DC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8C09DA5-8C43-4702-8900-F4900F7A89AE}" type="slidenum">
              <a:rPr lang="en-US" smtClean="0"/>
              <a:pPr/>
              <a:t>2</a:t>
            </a:fld>
            <a:endParaRPr lang="en-US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1BBD2FBB-2CA5-DE80-3025-1245F298BEAF}"/>
              </a:ext>
            </a:extLst>
          </p:cNvPr>
          <p:cNvSpPr txBox="1">
            <a:spLocks/>
          </p:cNvSpPr>
          <p:nvPr/>
        </p:nvSpPr>
        <p:spPr>
          <a:xfrm>
            <a:off x="449488" y="2134980"/>
            <a:ext cx="3383280" cy="3684793"/>
          </a:xfrm>
          <a:prstGeom prst="rect">
            <a:avLst/>
          </a:prstGeom>
        </p:spPr>
        <p:txBody>
          <a:bodyPr wrap="square" lIns="0" tIns="0" rIns="0" bIns="0" anchor="t">
            <a:noAutofit/>
          </a:bodyPr>
          <a:lstStyle>
            <a:defPPr>
              <a:defRPr lang="en-CA"/>
            </a:defPPr>
            <a:lvl1pPr marL="137160" indent="-137160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10000"/>
              <a:buFont typeface="Wingdings" panose="05000000000000000000" pitchFamily="2" charset="2"/>
              <a:buChar char="§"/>
              <a:defRPr sz="1200">
                <a:solidFill>
                  <a:srgbClr val="53565A"/>
                </a:solidFill>
              </a:defRPr>
            </a:lvl1pPr>
          </a:lstStyle>
          <a:p>
            <a:pPr marL="228600" lvl="1" indent="-228600">
              <a:spcBef>
                <a:spcPts val="600"/>
              </a:spcBef>
              <a:buClr>
                <a:schemeClr val="tx2"/>
              </a:buClr>
              <a:buSzPct val="100000"/>
              <a:buFont typeface="Wingdings" pitchFamily="2" charset="2"/>
              <a:buChar char="§"/>
            </a:pPr>
            <a:r>
              <a:rPr lang="en-IN">
                <a:latin typeface="Arial" panose="020B0604020202020204" pitchFamily="34" charset="0"/>
              </a:rPr>
              <a:t>Best Buy stocks thousands of </a:t>
            </a:r>
            <a:r>
              <a:rPr lang="en-IN" b="1">
                <a:latin typeface="Arial" panose="020B0604020202020204" pitchFamily="34" charset="0"/>
              </a:rPr>
              <a:t>slow-selling SKUs</a:t>
            </a:r>
          </a:p>
          <a:p>
            <a:pPr marL="228600" lvl="1" indent="-228600">
              <a:spcBef>
                <a:spcPts val="600"/>
              </a:spcBef>
              <a:buClr>
                <a:schemeClr val="tx2"/>
              </a:buClr>
              <a:buSzPct val="100000"/>
              <a:buFont typeface="Wingdings" pitchFamily="2" charset="2"/>
              <a:buChar char="§"/>
            </a:pPr>
            <a:r>
              <a:rPr lang="en-IN">
                <a:latin typeface="Arial" panose="020B0604020202020204" pitchFamily="34" charset="0"/>
              </a:rPr>
              <a:t>These SKUs put a </a:t>
            </a:r>
            <a:r>
              <a:rPr lang="en-IN" b="1">
                <a:latin typeface="Arial" panose="020B0604020202020204" pitchFamily="34" charset="0"/>
              </a:rPr>
              <a:t>constraint</a:t>
            </a:r>
            <a:r>
              <a:rPr lang="en-IN">
                <a:latin typeface="Arial" panose="020B0604020202020204" pitchFamily="34" charset="0"/>
              </a:rPr>
              <a:t> on working capital</a:t>
            </a:r>
          </a:p>
          <a:p>
            <a:pPr marL="228600" lvl="1" indent="-228600">
              <a:spcBef>
                <a:spcPts val="600"/>
              </a:spcBef>
              <a:buClr>
                <a:schemeClr val="tx2"/>
              </a:buClr>
              <a:buSzPct val="100000"/>
              <a:buFont typeface="Wingdings" pitchFamily="2" charset="2"/>
              <a:buChar char="§"/>
            </a:pPr>
            <a:r>
              <a:rPr lang="en-IN">
                <a:latin typeface="Arial" panose="020B0604020202020204" pitchFamily="34" charset="0"/>
              </a:rPr>
              <a:t>Moreover, sales are difficult to predict</a:t>
            </a:r>
          </a:p>
          <a:p>
            <a:pPr marL="228600" lvl="1" indent="-228600">
              <a:spcBef>
                <a:spcPts val="600"/>
              </a:spcBef>
              <a:buClr>
                <a:schemeClr val="tx2"/>
              </a:buClr>
              <a:buSzPct val="100000"/>
              <a:buFont typeface="Wingdings" pitchFamily="2" charset="2"/>
              <a:buChar char="§"/>
            </a:pPr>
            <a:r>
              <a:rPr lang="en-IN">
                <a:latin typeface="Arial" panose="020B0604020202020204" pitchFamily="34" charset="0"/>
              </a:rPr>
              <a:t>Accurate sales forecasts would have a </a:t>
            </a:r>
            <a:r>
              <a:rPr lang="en-IN" b="1">
                <a:latin typeface="Arial" panose="020B0604020202020204" pitchFamily="34" charset="0"/>
              </a:rPr>
              <a:t>large impact </a:t>
            </a:r>
            <a:r>
              <a:rPr lang="en-IN">
                <a:latin typeface="Arial" panose="020B0604020202020204" pitchFamily="34" charset="0"/>
              </a:rPr>
              <a:t>on operations, working capital, and customer satisfaction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1D8CD75C-A974-D276-A18E-F893BF122019}"/>
              </a:ext>
            </a:extLst>
          </p:cNvPr>
          <p:cNvSpPr txBox="1">
            <a:spLocks/>
          </p:cNvSpPr>
          <p:nvPr/>
        </p:nvSpPr>
        <p:spPr>
          <a:xfrm>
            <a:off x="4405639" y="2134980"/>
            <a:ext cx="3383280" cy="3684793"/>
          </a:xfrm>
          <a:prstGeom prst="rect">
            <a:avLst/>
          </a:prstGeom>
        </p:spPr>
        <p:txBody>
          <a:bodyPr wrap="square" lIns="0" tIns="0" rIns="0" bIns="0" anchor="t">
            <a:noAutofit/>
          </a:bodyPr>
          <a:lstStyle>
            <a:defPPr>
              <a:defRPr lang="en-CA"/>
            </a:defPPr>
            <a:lvl1pPr marL="137160" indent="-137160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10000"/>
              <a:buFont typeface="Wingdings" panose="05000000000000000000" pitchFamily="2" charset="2"/>
              <a:buChar char="§"/>
              <a:defRPr sz="1200">
                <a:solidFill>
                  <a:srgbClr val="53565A"/>
                </a:solidFill>
              </a:defRPr>
            </a:lvl1pPr>
          </a:lstStyle>
          <a:p>
            <a:pPr marL="228600" lvl="1" indent="-228600"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</a:pPr>
            <a:r>
              <a:rPr lang="en-IN" dirty="0">
                <a:latin typeface="Arial" panose="020B0604020202020204" pitchFamily="34" charset="0"/>
              </a:rPr>
              <a:t>Data exploration </a:t>
            </a:r>
            <a:r>
              <a:rPr lang="en-IN" dirty="0">
                <a:latin typeface="Arial" panose="020B0604020202020204" pitchFamily="34" charset="0"/>
                <a:sym typeface="Wingdings" pitchFamily="2" charset="2"/>
              </a:rPr>
              <a:t> </a:t>
            </a:r>
            <a:r>
              <a:rPr lang="en-IN" b="1" dirty="0">
                <a:latin typeface="Arial" panose="020B0604020202020204" pitchFamily="34" charset="0"/>
                <a:sym typeface="Wingdings" pitchFamily="2" charset="2"/>
              </a:rPr>
              <a:t>Tableau</a:t>
            </a:r>
            <a:endParaRPr lang="en-IN" b="1" dirty="0">
              <a:latin typeface="Arial" panose="020B0604020202020204" pitchFamily="34" charset="0"/>
            </a:endParaRPr>
          </a:p>
          <a:p>
            <a:pPr marL="228600" lvl="1" indent="-228600"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</a:pPr>
            <a:r>
              <a:rPr lang="en-IN" b="1" dirty="0">
                <a:latin typeface="Arial" panose="020B0604020202020204" pitchFamily="34" charset="0"/>
              </a:rPr>
              <a:t>Internal &amp; external data </a:t>
            </a:r>
            <a:r>
              <a:rPr lang="en-IN" dirty="0">
                <a:latin typeface="Arial" panose="020B0604020202020204" pitchFamily="34" charset="0"/>
              </a:rPr>
              <a:t>used for feature creation</a:t>
            </a:r>
          </a:p>
          <a:p>
            <a:pPr marL="228600" lvl="1" indent="-228600"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</a:pPr>
            <a:r>
              <a:rPr lang="en-IN" b="1" dirty="0">
                <a:latin typeface="Arial" panose="020B0604020202020204" pitchFamily="34" charset="0"/>
              </a:rPr>
              <a:t>Feature selection</a:t>
            </a:r>
            <a:r>
              <a:rPr lang="en-IN" b="1" dirty="0">
                <a:latin typeface="Arial" panose="020B0604020202020204" pitchFamily="34" charset="0"/>
                <a:sym typeface="Wingdings" pitchFamily="2" charset="2"/>
              </a:rPr>
              <a:t> </a:t>
            </a:r>
            <a:r>
              <a:rPr lang="en-IN" dirty="0">
                <a:latin typeface="Arial" panose="020B0604020202020204" pitchFamily="34" charset="0"/>
                <a:sym typeface="Wingdings" pitchFamily="2" charset="2"/>
              </a:rPr>
              <a:t> evaluating the best combination of features</a:t>
            </a:r>
            <a:endParaRPr lang="en-IN" b="1" dirty="0">
              <a:latin typeface="Arial" panose="020B0604020202020204" pitchFamily="34" charset="0"/>
            </a:endParaRPr>
          </a:p>
          <a:p>
            <a:pPr marL="228600" lvl="1" indent="-228600">
              <a:spcBef>
                <a:spcPts val="600"/>
              </a:spcBef>
              <a:buClr>
                <a:schemeClr val="tx2"/>
              </a:buClr>
              <a:buSzPct val="100000"/>
              <a:buFont typeface="Wingdings" pitchFamily="2" charset="2"/>
              <a:buChar char="§"/>
            </a:pPr>
            <a:r>
              <a:rPr lang="en-IN" dirty="0">
                <a:latin typeface="Arial" panose="020B0604020202020204" pitchFamily="34" charset="0"/>
              </a:rPr>
              <a:t>Best model </a:t>
            </a:r>
            <a:r>
              <a:rPr lang="en-IN" dirty="0">
                <a:latin typeface="Arial" panose="020B0604020202020204" pitchFamily="34" charset="0"/>
                <a:sym typeface="Wingdings" pitchFamily="2" charset="2"/>
              </a:rPr>
              <a:t> </a:t>
            </a:r>
            <a:r>
              <a:rPr lang="en-IN" b="1" dirty="0" err="1">
                <a:latin typeface="Arial" panose="020B0604020202020204" pitchFamily="34" charset="0"/>
                <a:sym typeface="Wingdings" pitchFamily="2" charset="2"/>
              </a:rPr>
              <a:t>LightGBM</a:t>
            </a:r>
            <a:r>
              <a:rPr lang="en-IN" b="1" dirty="0">
                <a:latin typeface="Arial" panose="020B0604020202020204" pitchFamily="34" charset="0"/>
                <a:sym typeface="Wingdings" pitchFamily="2" charset="2"/>
              </a:rPr>
              <a:t> </a:t>
            </a:r>
            <a:r>
              <a:rPr lang="en-IN" dirty="0">
                <a:latin typeface="Arial" panose="020B0604020202020204" pitchFamily="34" charset="0"/>
                <a:sym typeface="Wingdings" pitchFamily="2" charset="2"/>
              </a:rPr>
              <a:t>with lag features (recommended model)</a:t>
            </a:r>
            <a:endParaRPr lang="en-IN" dirty="0">
              <a:latin typeface="Arial" panose="020B0604020202020204" pitchFamily="34" charset="0"/>
            </a:endParaRPr>
          </a:p>
          <a:p>
            <a:pPr marL="228600" lvl="1" indent="-228600">
              <a:spcBef>
                <a:spcPts val="600"/>
              </a:spcBef>
              <a:buClr>
                <a:schemeClr val="tx2"/>
              </a:buClr>
              <a:buSzPct val="100000"/>
              <a:buFont typeface="Wingdings" pitchFamily="2" charset="2"/>
              <a:buChar char="§"/>
            </a:pPr>
            <a:r>
              <a:rPr lang="en-IN" dirty="0">
                <a:latin typeface="Arial" panose="020B0604020202020204" pitchFamily="34" charset="0"/>
              </a:rPr>
              <a:t>Performance </a:t>
            </a:r>
            <a:r>
              <a:rPr lang="en-IN" dirty="0">
                <a:latin typeface="Arial" panose="020B0604020202020204" pitchFamily="34" charset="0"/>
                <a:sym typeface="Wingdings" pitchFamily="2" charset="2"/>
              </a:rPr>
              <a:t> </a:t>
            </a:r>
            <a:r>
              <a:rPr lang="en-IN" b="1" dirty="0">
                <a:latin typeface="Arial" panose="020B0604020202020204" pitchFamily="34" charset="0"/>
                <a:sym typeface="Wingdings" pitchFamily="2" charset="2"/>
              </a:rPr>
              <a:t>RSME of 3.39 </a:t>
            </a:r>
            <a:r>
              <a:rPr lang="en-IN" dirty="0">
                <a:latin typeface="Arial" panose="020B0604020202020204" pitchFamily="34" charset="0"/>
                <a:sym typeface="Wingdings" pitchFamily="2" charset="2"/>
              </a:rPr>
              <a:t>for our </a:t>
            </a:r>
            <a:r>
              <a:rPr lang="en-IN" dirty="0" err="1">
                <a:latin typeface="Arial" panose="020B0604020202020204" pitchFamily="34" charset="0"/>
                <a:sym typeface="Wingdings" pitchFamily="2" charset="2"/>
              </a:rPr>
              <a:t>LightGBM</a:t>
            </a:r>
            <a:r>
              <a:rPr lang="en-IN" dirty="0">
                <a:latin typeface="Arial" panose="020B0604020202020204" pitchFamily="34" charset="0"/>
                <a:sym typeface="Wingdings" pitchFamily="2" charset="2"/>
              </a:rPr>
              <a:t> model </a:t>
            </a:r>
            <a:r>
              <a:rPr lang="en-IN" b="1" dirty="0">
                <a:latin typeface="Arial" panose="020B0604020202020204" pitchFamily="34" charset="0"/>
                <a:sym typeface="Wingdings" pitchFamily="2" charset="2"/>
              </a:rPr>
              <a:t>within 3 seconds</a:t>
            </a:r>
            <a:endParaRPr lang="en-IN" b="1" dirty="0">
              <a:latin typeface="Arial" panose="020B0604020202020204" pitchFamily="34" charset="0"/>
            </a:endParaRPr>
          </a:p>
        </p:txBody>
      </p:sp>
      <p:sp>
        <p:nvSpPr>
          <p:cNvPr id="8" name="Arrow: Chevron 3">
            <a:extLst>
              <a:ext uri="{FF2B5EF4-FFF2-40B4-BE49-F238E27FC236}">
                <a16:creationId xmlns:a16="http://schemas.microsoft.com/office/drawing/2014/main" id="{58A28288-960E-6CB3-A7EA-ED0C408AAEB7}"/>
              </a:ext>
            </a:extLst>
          </p:cNvPr>
          <p:cNvSpPr/>
          <p:nvPr/>
        </p:nvSpPr>
        <p:spPr>
          <a:xfrm>
            <a:off x="4292255" y="1368425"/>
            <a:ext cx="3697743" cy="667512"/>
          </a:xfrm>
          <a:prstGeom prst="chevron">
            <a:avLst>
              <a:gd name="adj" fmla="val 28049"/>
            </a:avLst>
          </a:prstGeom>
          <a:solidFill>
            <a:schemeClr val="tx2"/>
          </a:solidFill>
          <a:ln w="6350">
            <a:noFill/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0"/>
              </a:spcBef>
              <a:spcAft>
                <a:spcPts val="0"/>
              </a:spcAft>
              <a:buSzPct val="110000"/>
            </a:pPr>
            <a:r>
              <a:rPr lang="en-US" sz="2000" b="1">
                <a:solidFill>
                  <a:schemeClr val="bg1"/>
                </a:solidFill>
                <a:latin typeface="Arial" panose="020B0604020202020204" pitchFamily="34" charset="0"/>
              </a:rPr>
              <a:t>Approach</a:t>
            </a:r>
          </a:p>
        </p:txBody>
      </p:sp>
      <p:sp>
        <p:nvSpPr>
          <p:cNvPr id="9" name="Arrow: Chevron 5">
            <a:extLst>
              <a:ext uri="{FF2B5EF4-FFF2-40B4-BE49-F238E27FC236}">
                <a16:creationId xmlns:a16="http://schemas.microsoft.com/office/drawing/2014/main" id="{FD9B3F50-A0DE-3D4B-8B50-C46DDC9D0CF2}"/>
              </a:ext>
            </a:extLst>
          </p:cNvPr>
          <p:cNvSpPr/>
          <p:nvPr/>
        </p:nvSpPr>
        <p:spPr>
          <a:xfrm>
            <a:off x="8327020" y="1368425"/>
            <a:ext cx="3540513" cy="667512"/>
          </a:xfrm>
          <a:prstGeom prst="chevron">
            <a:avLst>
              <a:gd name="adj" fmla="val 28049"/>
            </a:avLst>
          </a:prstGeom>
          <a:solidFill>
            <a:schemeClr val="tx2"/>
          </a:solidFill>
          <a:ln w="6350">
            <a:noFill/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0"/>
              </a:spcBef>
              <a:spcAft>
                <a:spcPts val="0"/>
              </a:spcAft>
              <a:buSzPct val="110000"/>
            </a:pPr>
            <a:r>
              <a:rPr lang="en-US" sz="2000" b="1">
                <a:solidFill>
                  <a:schemeClr val="bg1"/>
                </a:solidFill>
                <a:latin typeface="Arial" panose="020B0604020202020204" pitchFamily="34" charset="0"/>
              </a:rPr>
              <a:t>Recommendations</a:t>
            </a:r>
          </a:p>
        </p:txBody>
      </p:sp>
      <p:sp>
        <p:nvSpPr>
          <p:cNvPr id="10" name="Arrow: Chevron 3">
            <a:extLst>
              <a:ext uri="{FF2B5EF4-FFF2-40B4-BE49-F238E27FC236}">
                <a16:creationId xmlns:a16="http://schemas.microsoft.com/office/drawing/2014/main" id="{E1D8DD94-D9A8-8118-A4BC-DC3DCE3E466D}"/>
              </a:ext>
            </a:extLst>
          </p:cNvPr>
          <p:cNvSpPr/>
          <p:nvPr/>
        </p:nvSpPr>
        <p:spPr>
          <a:xfrm>
            <a:off x="327023" y="1368425"/>
            <a:ext cx="3628210" cy="667512"/>
          </a:xfrm>
          <a:prstGeom prst="homePlate">
            <a:avLst>
              <a:gd name="adj" fmla="val 27933"/>
            </a:avLst>
          </a:prstGeom>
          <a:solidFill>
            <a:schemeClr val="tx2"/>
          </a:solidFill>
          <a:ln w="6350">
            <a:noFill/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0"/>
              </a:spcBef>
              <a:spcAft>
                <a:spcPts val="0"/>
              </a:spcAft>
              <a:buSzPct val="110000"/>
            </a:pPr>
            <a:r>
              <a:rPr lang="en-US" sz="2000" b="1">
                <a:solidFill>
                  <a:schemeClr val="bg1"/>
                </a:solidFill>
                <a:latin typeface="Arial" panose="020B0604020202020204" pitchFamily="34" charset="0"/>
              </a:rPr>
              <a:t>Business Opportunity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70CECEAC-FE13-DCFC-FCF2-FEDEAA93A01E}"/>
              </a:ext>
            </a:extLst>
          </p:cNvPr>
          <p:cNvCxnSpPr>
            <a:cxnSpLocks/>
          </p:cNvCxnSpPr>
          <p:nvPr/>
        </p:nvCxnSpPr>
        <p:spPr>
          <a:xfrm>
            <a:off x="8136587" y="2134981"/>
            <a:ext cx="0" cy="3684794"/>
          </a:xfrm>
          <a:prstGeom prst="line">
            <a:avLst/>
          </a:prstGeom>
          <a:ln w="9525" cap="rnd">
            <a:solidFill>
              <a:schemeClr val="tx2"/>
            </a:solidFill>
            <a:prstDash val="solid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1EC1F065-AF45-6F88-05DE-26C8A78B0FD4}"/>
              </a:ext>
            </a:extLst>
          </p:cNvPr>
          <p:cNvCxnSpPr/>
          <p:nvPr/>
        </p:nvCxnSpPr>
        <p:spPr>
          <a:xfrm>
            <a:off x="4057971" y="2134981"/>
            <a:ext cx="0" cy="3684794"/>
          </a:xfrm>
          <a:prstGeom prst="line">
            <a:avLst/>
          </a:prstGeom>
          <a:ln w="9525" cap="rnd">
            <a:solidFill>
              <a:schemeClr val="tx2"/>
            </a:solidFill>
            <a:prstDash val="solid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Box 12">
            <a:extLst>
              <a:ext uri="{FF2B5EF4-FFF2-40B4-BE49-F238E27FC236}">
                <a16:creationId xmlns:a16="http://schemas.microsoft.com/office/drawing/2014/main" id="{2200DD91-2B67-9D1F-A8CF-B96FCE6CBA80}"/>
              </a:ext>
            </a:extLst>
          </p:cNvPr>
          <p:cNvSpPr txBox="1">
            <a:spLocks/>
          </p:cNvSpPr>
          <p:nvPr/>
        </p:nvSpPr>
        <p:spPr>
          <a:xfrm>
            <a:off x="8405636" y="2134980"/>
            <a:ext cx="3383280" cy="3684793"/>
          </a:xfrm>
          <a:prstGeom prst="rect">
            <a:avLst/>
          </a:prstGeom>
        </p:spPr>
        <p:txBody>
          <a:bodyPr wrap="square" lIns="0" tIns="0" rIns="0" bIns="0" anchor="t">
            <a:noAutofit/>
          </a:bodyPr>
          <a:lstStyle>
            <a:defPPr>
              <a:defRPr lang="en-CA"/>
            </a:defPPr>
            <a:lvl1pPr marL="137160" indent="-137160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10000"/>
              <a:buFont typeface="Wingdings" panose="05000000000000000000" pitchFamily="2" charset="2"/>
              <a:buChar char="§"/>
              <a:defRPr sz="1200">
                <a:solidFill>
                  <a:srgbClr val="53565A"/>
                </a:solidFill>
              </a:defRPr>
            </a:lvl1pPr>
          </a:lstStyle>
          <a:p>
            <a:pPr marL="228600" lvl="1" indent="-228600">
              <a:spcBef>
                <a:spcPts val="600"/>
              </a:spcBef>
              <a:buClr>
                <a:schemeClr val="tx2"/>
              </a:buClr>
              <a:buSzPct val="100000"/>
              <a:buFont typeface="Wingdings" pitchFamily="2" charset="2"/>
              <a:buChar char="§"/>
            </a:pPr>
            <a:r>
              <a:rPr lang="en-IN" b="1">
                <a:latin typeface="Arial" panose="020B0604020202020204" pitchFamily="34" charset="0"/>
              </a:rPr>
              <a:t>Stock inventory </a:t>
            </a:r>
            <a:r>
              <a:rPr lang="en-IN">
                <a:latin typeface="Arial" panose="020B0604020202020204" pitchFamily="34" charset="0"/>
              </a:rPr>
              <a:t>in anticipation of promotions</a:t>
            </a:r>
          </a:p>
          <a:p>
            <a:pPr marL="228600" lvl="1" indent="-228600">
              <a:spcBef>
                <a:spcPts val="600"/>
              </a:spcBef>
              <a:buClr>
                <a:schemeClr val="tx2"/>
              </a:buClr>
              <a:buSzPct val="100000"/>
              <a:buFont typeface="Wingdings" pitchFamily="2" charset="2"/>
              <a:buChar char="§"/>
            </a:pPr>
            <a:r>
              <a:rPr lang="en-IN" b="1">
                <a:latin typeface="Arial" panose="020B0604020202020204" pitchFamily="34" charset="0"/>
              </a:rPr>
              <a:t>Constantly adjust prices </a:t>
            </a:r>
            <a:r>
              <a:rPr lang="en-IN">
                <a:latin typeface="Arial" panose="020B0604020202020204" pitchFamily="34" charset="0"/>
              </a:rPr>
              <a:t>and promotions according to inflation and consumer sentiment</a:t>
            </a:r>
          </a:p>
          <a:p>
            <a:pPr marL="228600" lvl="1" indent="-228600">
              <a:spcBef>
                <a:spcPts val="600"/>
              </a:spcBef>
              <a:buClr>
                <a:schemeClr val="tx2"/>
              </a:buClr>
              <a:buSzPct val="100000"/>
              <a:buFont typeface="Wingdings" pitchFamily="2" charset="2"/>
              <a:buChar char="§"/>
            </a:pPr>
            <a:r>
              <a:rPr lang="en-IN" b="1">
                <a:latin typeface="Arial" panose="020B0604020202020204" pitchFamily="34" charset="0"/>
              </a:rPr>
              <a:t>Incorporate seasonality </a:t>
            </a:r>
            <a:r>
              <a:rPr lang="en-IN">
                <a:latin typeface="Arial" panose="020B0604020202020204" pitchFamily="34" charset="0"/>
              </a:rPr>
              <a:t>of products during the order process</a:t>
            </a:r>
          </a:p>
          <a:p>
            <a:pPr marL="228600" lvl="1" indent="-228600">
              <a:spcBef>
                <a:spcPts val="600"/>
              </a:spcBef>
              <a:buClr>
                <a:schemeClr val="tx2"/>
              </a:buClr>
              <a:buSzPct val="100000"/>
              <a:buFont typeface="Wingdings" pitchFamily="2" charset="2"/>
              <a:buChar char="§"/>
            </a:pPr>
            <a:r>
              <a:rPr lang="en-IN" b="1">
                <a:latin typeface="Arial" panose="020B0604020202020204" pitchFamily="34" charset="0"/>
              </a:rPr>
              <a:t>Utilize discounting strategies </a:t>
            </a:r>
            <a:r>
              <a:rPr lang="en-IN">
                <a:latin typeface="Arial" panose="020B0604020202020204" pitchFamily="34" charset="0"/>
              </a:rPr>
              <a:t>for pushing sales of slow-selling SKUs</a:t>
            </a:r>
          </a:p>
        </p:txBody>
      </p:sp>
    </p:spTree>
    <p:extLst>
      <p:ext uri="{BB962C8B-B14F-4D97-AF65-F5344CB8AC3E}">
        <p14:creationId xmlns:p14="http://schemas.microsoft.com/office/powerpoint/2010/main" val="99569077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Object 15" hidden="1">
            <a:extLst>
              <a:ext uri="{FF2B5EF4-FFF2-40B4-BE49-F238E27FC236}">
                <a16:creationId xmlns:a16="http://schemas.microsoft.com/office/drawing/2014/main" id="{8D767D99-F789-4C3A-DD3F-18EEC8A5288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2697014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16" name="Object 15" hidden="1">
                        <a:extLst>
                          <a:ext uri="{FF2B5EF4-FFF2-40B4-BE49-F238E27FC236}">
                            <a16:creationId xmlns:a16="http://schemas.microsoft.com/office/drawing/2014/main" id="{8D767D99-F789-4C3A-DD3F-18EEC8A5288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6AE18DC0-41BE-329C-5072-789A85A7185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sz="2800"/>
              <a:t>The EDA offers various insights such as high spikes in sales around holidays</a:t>
            </a:r>
            <a:endParaRPr lang="en-GB" sz="280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424BE380-9311-15A7-FCF7-3BC2A0EBB1B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8C09DA5-8C43-4702-8900-F4900F7A89AE}" type="slidenum">
              <a:rPr lang="en-US" smtClean="0"/>
              <a:pPr/>
              <a:t>3</a:t>
            </a:fld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7BA6D83A-5BEC-E7D1-CEB0-7B3DE6B4B06D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636864" y="3458839"/>
            <a:ext cx="4065279" cy="2120516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EDBF5836-9621-DBF7-B586-AAA61AFC15F3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636864" y="1106761"/>
            <a:ext cx="4065279" cy="2120516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888B47C1-4199-0FF5-0711-B508DDF6C4FE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89857" y="3458839"/>
            <a:ext cx="3534193" cy="2120516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745480A2-FCEF-7275-F84E-8B64BCEBCD3F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89857" y="1063952"/>
            <a:ext cx="3534193" cy="2120516"/>
          </a:xfrm>
          <a:prstGeom prst="rect">
            <a:avLst/>
          </a:prstGeom>
        </p:spPr>
      </p:pic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7F685F03-DA7C-886B-EC91-E5C48943359E}"/>
              </a:ext>
            </a:extLst>
          </p:cNvPr>
          <p:cNvCxnSpPr>
            <a:cxnSpLocks/>
          </p:cNvCxnSpPr>
          <p:nvPr/>
        </p:nvCxnSpPr>
        <p:spPr bwMode="gray">
          <a:xfrm>
            <a:off x="5830457" y="1107758"/>
            <a:ext cx="0" cy="4451985"/>
          </a:xfrm>
          <a:prstGeom prst="line">
            <a:avLst/>
          </a:prstGeom>
          <a:noFill/>
          <a:ln w="9525" cap="rnd" cmpd="sng" algn="ctr">
            <a:solidFill>
              <a:srgbClr val="75737D"/>
            </a:solidFill>
            <a:prstDash val="solid"/>
            <a:round/>
          </a:ln>
          <a:effectLst/>
        </p:spPr>
      </p:cxnSp>
      <p:sp>
        <p:nvSpPr>
          <p:cNvPr id="22" name="TextBox 21">
            <a:extLst>
              <a:ext uri="{FF2B5EF4-FFF2-40B4-BE49-F238E27FC236}">
                <a16:creationId xmlns:a16="http://schemas.microsoft.com/office/drawing/2014/main" id="{784B6F1B-0CC9-3687-117E-31CC8CBC2360}"/>
              </a:ext>
            </a:extLst>
          </p:cNvPr>
          <p:cNvSpPr txBox="1"/>
          <p:nvPr/>
        </p:nvSpPr>
        <p:spPr>
          <a:xfrm>
            <a:off x="4187025" y="1610201"/>
            <a:ext cx="1480457" cy="344709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l"/>
            <a:r>
              <a:rPr lang="en-US" sz="1600"/>
              <a:t>SKUs are similarly distributed across categories </a:t>
            </a:r>
            <a:r>
              <a:rPr lang="en-US" sz="1600">
                <a:sym typeface="Wingdings" pitchFamily="2" charset="2"/>
              </a:rPr>
              <a:t> </a:t>
            </a:r>
            <a:r>
              <a:rPr lang="en-US" sz="1600" b="1">
                <a:sym typeface="Wingdings" pitchFamily="2" charset="2"/>
              </a:rPr>
              <a:t>possibility to create one model per category</a:t>
            </a:r>
          </a:p>
          <a:p>
            <a:pPr algn="l"/>
            <a:endParaRPr lang="en-US" sz="1600">
              <a:sym typeface="Wingdings" pitchFamily="2" charset="2"/>
            </a:endParaRPr>
          </a:p>
          <a:p>
            <a:pPr algn="l"/>
            <a:r>
              <a:rPr lang="en-US" sz="1600">
                <a:sym typeface="Wingdings" pitchFamily="2" charset="2"/>
              </a:rPr>
              <a:t>Sizes of subclasses vary strongly</a:t>
            </a:r>
            <a:endParaRPr lang="en-US" sz="1600"/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493C9E3F-85F1-7B7A-61C4-8E00FB7A59FE}"/>
              </a:ext>
            </a:extLst>
          </p:cNvPr>
          <p:cNvSpPr txBox="1"/>
          <p:nvPr/>
        </p:nvSpPr>
        <p:spPr>
          <a:xfrm>
            <a:off x="5993432" y="1610201"/>
            <a:ext cx="1480457" cy="344709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l"/>
            <a:r>
              <a:rPr lang="en-US" sz="1600"/>
              <a:t>Avg </a:t>
            </a:r>
            <a:r>
              <a:rPr lang="en-US" sz="1600" b="1"/>
              <a:t>sales prices follow different trends </a:t>
            </a:r>
            <a:r>
              <a:rPr lang="en-US" sz="1600"/>
              <a:t>per MI, going up on average</a:t>
            </a:r>
          </a:p>
          <a:p>
            <a:pPr algn="l"/>
            <a:endParaRPr lang="en-US" sz="1600"/>
          </a:p>
          <a:p>
            <a:pPr algn="l"/>
            <a:r>
              <a:rPr lang="en-US" sz="1600" b="1"/>
              <a:t>Sales see high spikes for holidays </a:t>
            </a:r>
            <a:r>
              <a:rPr lang="en-US" sz="1600"/>
              <a:t>– yet smaller spikes in past years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B4DAB637-7EB1-4896-71E4-02C9FB1111F1}"/>
              </a:ext>
            </a:extLst>
          </p:cNvPr>
          <p:cNvSpPr/>
          <p:nvPr/>
        </p:nvSpPr>
        <p:spPr>
          <a:xfrm>
            <a:off x="0" y="5782738"/>
            <a:ext cx="12192000" cy="401108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>
                <a:solidFill>
                  <a:schemeClr val="bg1"/>
                </a:solidFill>
              </a:rPr>
              <a:t>A dynamic Tableau dashboard has been created for you to explore the data and can easily be refreshed for updated feeds</a:t>
            </a:r>
            <a:endParaRPr lang="en-GB" b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9590034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F3F434E7-74BA-087F-1BD5-FE832AA1E59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5820637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0" imgW="7772400" imgH="10058400" progId="TCLayout.ActiveDocument.1">
                  <p:embed/>
                </p:oleObj>
              </mc:Choice>
              <mc:Fallback>
                <p:oleObj name="think-cell Slide" r:id="rId40" imgW="7772400" imgH="1005840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F3F434E7-74BA-087F-1BD5-FE832AA1E59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0FCA8915-49F5-B0A7-3E79-B63CE49D514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sz="2800"/>
              <a:t>A wide variety of features were explored for the model</a:t>
            </a:r>
          </a:p>
        </p:txBody>
      </p:sp>
      <p:graphicFrame>
        <p:nvGraphicFramePr>
          <p:cNvPr id="10" name="Table 10">
            <a:extLst>
              <a:ext uri="{FF2B5EF4-FFF2-40B4-BE49-F238E27FC236}">
                <a16:creationId xmlns:a16="http://schemas.microsoft.com/office/drawing/2014/main" id="{B64C2198-60C3-1D5F-A233-A9C427B90AC4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612279671"/>
              </p:ext>
            </p:extLst>
          </p:nvPr>
        </p:nvGraphicFramePr>
        <p:xfrm>
          <a:off x="342900" y="1279922"/>
          <a:ext cx="8385465" cy="4695564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3187313">
                  <a:extLst>
                    <a:ext uri="{9D8B030D-6E8A-4147-A177-3AD203B41FA5}">
                      <a16:colId xmlns:a16="http://schemas.microsoft.com/office/drawing/2014/main" val="4293567995"/>
                    </a:ext>
                  </a:extLst>
                </a:gridCol>
                <a:gridCol w="1299538">
                  <a:extLst>
                    <a:ext uri="{9D8B030D-6E8A-4147-A177-3AD203B41FA5}">
                      <a16:colId xmlns:a16="http://schemas.microsoft.com/office/drawing/2014/main" val="567467441"/>
                    </a:ext>
                  </a:extLst>
                </a:gridCol>
                <a:gridCol w="1299538">
                  <a:extLst>
                    <a:ext uri="{9D8B030D-6E8A-4147-A177-3AD203B41FA5}">
                      <a16:colId xmlns:a16="http://schemas.microsoft.com/office/drawing/2014/main" val="1098994566"/>
                    </a:ext>
                  </a:extLst>
                </a:gridCol>
                <a:gridCol w="1299538">
                  <a:extLst>
                    <a:ext uri="{9D8B030D-6E8A-4147-A177-3AD203B41FA5}">
                      <a16:colId xmlns:a16="http://schemas.microsoft.com/office/drawing/2014/main" val="4031496252"/>
                    </a:ext>
                  </a:extLst>
                </a:gridCol>
                <a:gridCol w="1299538">
                  <a:extLst>
                    <a:ext uri="{9D8B030D-6E8A-4147-A177-3AD203B41FA5}">
                      <a16:colId xmlns:a16="http://schemas.microsoft.com/office/drawing/2014/main" val="2035380608"/>
                    </a:ext>
                  </a:extLst>
                </a:gridCol>
              </a:tblGrid>
              <a:tr h="316212">
                <a:tc>
                  <a:txBody>
                    <a:bodyPr/>
                    <a:lstStyle/>
                    <a:p>
                      <a:r>
                        <a:rPr lang="en-US" sz="1400">
                          <a:solidFill>
                            <a:schemeClr val="bg1"/>
                          </a:solidFill>
                        </a:rPr>
                        <a:t>Feature Category</a:t>
                      </a:r>
                    </a:p>
                  </a:txBody>
                  <a:tcPr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>
                          <a:solidFill>
                            <a:schemeClr val="bg1"/>
                          </a:solidFill>
                        </a:rPr>
                        <a:t>Current</a:t>
                      </a:r>
                      <a:br>
                        <a:rPr lang="en-US" sz="1400">
                          <a:solidFill>
                            <a:schemeClr val="bg1"/>
                          </a:solidFill>
                        </a:rPr>
                      </a:br>
                      <a:r>
                        <a:rPr lang="en-US" sz="1400">
                          <a:solidFill>
                            <a:schemeClr val="bg1"/>
                          </a:solidFill>
                        </a:rPr>
                        <a:t>Data</a:t>
                      </a:r>
                    </a:p>
                  </a:txBody>
                  <a:tcPr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>
                          <a:solidFill>
                            <a:schemeClr val="bg1"/>
                          </a:solidFill>
                        </a:rPr>
                        <a:t>Lag</a:t>
                      </a:r>
                      <a:br>
                        <a:rPr lang="en-US" sz="1400">
                          <a:solidFill>
                            <a:schemeClr val="bg1"/>
                          </a:solidFill>
                        </a:rPr>
                      </a:br>
                      <a:r>
                        <a:rPr lang="en-US" sz="1400">
                          <a:solidFill>
                            <a:schemeClr val="bg1"/>
                          </a:solidFill>
                        </a:rPr>
                        <a:t>Feature</a:t>
                      </a:r>
                    </a:p>
                  </a:txBody>
                  <a:tcPr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>
                          <a:solidFill>
                            <a:schemeClr val="bg1"/>
                          </a:solidFill>
                        </a:rPr>
                        <a:t>Internal vs.</a:t>
                      </a:r>
                      <a:br>
                        <a:rPr lang="en-US" sz="1400">
                          <a:solidFill>
                            <a:schemeClr val="bg1"/>
                          </a:solidFill>
                        </a:rPr>
                      </a:br>
                      <a:r>
                        <a:rPr lang="en-US" sz="1400">
                          <a:solidFill>
                            <a:schemeClr val="bg1"/>
                          </a:solidFill>
                        </a:rPr>
                        <a:t>External</a:t>
                      </a:r>
                    </a:p>
                  </a:txBody>
                  <a:tcPr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>
                          <a:solidFill>
                            <a:schemeClr val="bg1"/>
                          </a:solidFill>
                        </a:rPr>
                        <a:t>Used in</a:t>
                      </a:r>
                      <a:br>
                        <a:rPr lang="en-US" sz="1400">
                          <a:solidFill>
                            <a:schemeClr val="bg1"/>
                          </a:solidFill>
                        </a:rPr>
                      </a:br>
                      <a:r>
                        <a:rPr lang="en-US" sz="1400">
                          <a:solidFill>
                            <a:schemeClr val="bg1"/>
                          </a:solidFill>
                        </a:rPr>
                        <a:t>Final Model</a:t>
                      </a:r>
                    </a:p>
                  </a:txBody>
                  <a:tcPr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34100772"/>
                  </a:ext>
                </a:extLst>
              </a:tr>
              <a:tr h="237158">
                <a:tc>
                  <a:txBody>
                    <a:bodyPr/>
                    <a:lstStyle/>
                    <a:p>
                      <a:r>
                        <a:rPr lang="en-US" sz="1200">
                          <a:solidFill>
                            <a:schemeClr val="tx1"/>
                          </a:solidFill>
                        </a:rPr>
                        <a:t>Previous sales</a:t>
                      </a:r>
                    </a:p>
                  </a:txBody>
                  <a:tcPr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200">
                        <a:solidFill>
                          <a:schemeClr val="tx1"/>
                        </a:solidFill>
                      </a:endParaRPr>
                    </a:p>
                  </a:txBody>
                  <a:tcPr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200">
                        <a:solidFill>
                          <a:schemeClr val="tx1"/>
                        </a:solidFill>
                      </a:endParaRPr>
                    </a:p>
                  </a:txBody>
                  <a:tcPr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200">
                        <a:solidFill>
                          <a:schemeClr val="tx1"/>
                        </a:solidFill>
                      </a:endParaRPr>
                    </a:p>
                  </a:txBody>
                  <a:tcPr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200">
                        <a:solidFill>
                          <a:schemeClr val="tx1"/>
                        </a:solidFill>
                      </a:endParaRPr>
                    </a:p>
                  </a:txBody>
                  <a:tcPr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176961059"/>
                  </a:ext>
                </a:extLst>
              </a:tr>
              <a:tr h="237158">
                <a:tc>
                  <a:txBody>
                    <a:bodyPr/>
                    <a:lstStyle/>
                    <a:p>
                      <a:r>
                        <a:rPr lang="en-US" sz="1200">
                          <a:solidFill>
                            <a:schemeClr val="tx1"/>
                          </a:solidFill>
                        </a:rPr>
                        <a:t>Amount of discount (%)</a:t>
                      </a:r>
                    </a:p>
                  </a:txBody>
                  <a:tcPr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200">
                        <a:solidFill>
                          <a:schemeClr val="tx1"/>
                        </a:solidFill>
                      </a:endParaRPr>
                    </a:p>
                  </a:txBody>
                  <a:tcPr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200">
                        <a:solidFill>
                          <a:schemeClr val="tx1"/>
                        </a:solidFill>
                      </a:endParaRPr>
                    </a:p>
                  </a:txBody>
                  <a:tcPr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200">
                        <a:solidFill>
                          <a:schemeClr val="tx1"/>
                        </a:solidFill>
                      </a:endParaRPr>
                    </a:p>
                  </a:txBody>
                  <a:tcPr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200">
                        <a:solidFill>
                          <a:schemeClr val="tx1"/>
                        </a:solidFill>
                      </a:endParaRPr>
                    </a:p>
                  </a:txBody>
                  <a:tcPr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28374018"/>
                  </a:ext>
                </a:extLst>
              </a:tr>
              <a:tr h="237158">
                <a:tc>
                  <a:txBody>
                    <a:bodyPr/>
                    <a:lstStyle/>
                    <a:p>
                      <a:r>
                        <a:rPr lang="en-US" sz="1200">
                          <a:solidFill>
                            <a:schemeClr val="tx1"/>
                          </a:solidFill>
                        </a:rPr>
                        <a:t># of days on which promotion happened</a:t>
                      </a:r>
                    </a:p>
                  </a:txBody>
                  <a:tcPr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200">
                        <a:solidFill>
                          <a:schemeClr val="tx1"/>
                        </a:solidFill>
                      </a:endParaRPr>
                    </a:p>
                  </a:txBody>
                  <a:tcPr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200">
                        <a:solidFill>
                          <a:schemeClr val="tx1"/>
                        </a:solidFill>
                      </a:endParaRPr>
                    </a:p>
                  </a:txBody>
                  <a:tcPr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200">
                        <a:solidFill>
                          <a:schemeClr val="tx1"/>
                        </a:solidFill>
                      </a:endParaRPr>
                    </a:p>
                  </a:txBody>
                  <a:tcPr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200">
                        <a:solidFill>
                          <a:schemeClr val="tx1"/>
                        </a:solidFill>
                      </a:endParaRPr>
                    </a:p>
                  </a:txBody>
                  <a:tcPr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14756955"/>
                  </a:ext>
                </a:extLst>
              </a:tr>
              <a:tr h="237158">
                <a:tc>
                  <a:txBody>
                    <a:bodyPr/>
                    <a:lstStyle/>
                    <a:p>
                      <a:r>
                        <a:rPr lang="en-US" sz="1200">
                          <a:solidFill>
                            <a:schemeClr val="tx1"/>
                          </a:solidFill>
                        </a:rPr>
                        <a:t>Price of product</a:t>
                      </a:r>
                    </a:p>
                  </a:txBody>
                  <a:tcPr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200">
                        <a:solidFill>
                          <a:schemeClr val="tx1"/>
                        </a:solidFill>
                      </a:endParaRPr>
                    </a:p>
                  </a:txBody>
                  <a:tcPr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200">
                        <a:solidFill>
                          <a:schemeClr val="tx1"/>
                        </a:solidFill>
                      </a:endParaRPr>
                    </a:p>
                  </a:txBody>
                  <a:tcPr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200">
                        <a:solidFill>
                          <a:schemeClr val="tx1"/>
                        </a:solidFill>
                      </a:endParaRPr>
                    </a:p>
                  </a:txBody>
                  <a:tcPr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200">
                        <a:solidFill>
                          <a:schemeClr val="tx1"/>
                        </a:solidFill>
                      </a:endParaRPr>
                    </a:p>
                  </a:txBody>
                  <a:tcPr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347010430"/>
                  </a:ext>
                </a:extLst>
              </a:tr>
              <a:tr h="237158">
                <a:tc>
                  <a:txBody>
                    <a:bodyPr/>
                    <a:lstStyle/>
                    <a:p>
                      <a:r>
                        <a:rPr lang="en-US" sz="1200">
                          <a:solidFill>
                            <a:schemeClr val="tx1"/>
                          </a:solidFill>
                        </a:rPr>
                        <a:t>Avg. price of product</a:t>
                      </a:r>
                    </a:p>
                  </a:txBody>
                  <a:tcPr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200">
                        <a:solidFill>
                          <a:schemeClr val="tx1"/>
                        </a:solidFill>
                      </a:endParaRPr>
                    </a:p>
                  </a:txBody>
                  <a:tcPr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200">
                        <a:solidFill>
                          <a:schemeClr val="tx1"/>
                        </a:solidFill>
                      </a:endParaRPr>
                    </a:p>
                  </a:txBody>
                  <a:tcPr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200">
                        <a:solidFill>
                          <a:schemeClr val="tx1"/>
                        </a:solidFill>
                      </a:endParaRPr>
                    </a:p>
                  </a:txBody>
                  <a:tcPr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200">
                        <a:solidFill>
                          <a:schemeClr val="tx1"/>
                        </a:solidFill>
                      </a:endParaRPr>
                    </a:p>
                  </a:txBody>
                  <a:tcPr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829337506"/>
                  </a:ext>
                </a:extLst>
              </a:tr>
              <a:tr h="237158">
                <a:tc>
                  <a:txBody>
                    <a:bodyPr/>
                    <a:lstStyle/>
                    <a:p>
                      <a:r>
                        <a:rPr lang="en-US" sz="1200">
                          <a:solidFill>
                            <a:schemeClr val="tx1"/>
                          </a:solidFill>
                        </a:rPr>
                        <a:t>Price elasticity (stdev in price)</a:t>
                      </a:r>
                    </a:p>
                  </a:txBody>
                  <a:tcPr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200">
                        <a:solidFill>
                          <a:schemeClr val="tx1"/>
                        </a:solidFill>
                      </a:endParaRPr>
                    </a:p>
                  </a:txBody>
                  <a:tcPr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200">
                        <a:solidFill>
                          <a:schemeClr val="tx1"/>
                        </a:solidFill>
                      </a:endParaRPr>
                    </a:p>
                  </a:txBody>
                  <a:tcPr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200">
                        <a:solidFill>
                          <a:schemeClr val="tx1"/>
                        </a:solidFill>
                      </a:endParaRPr>
                    </a:p>
                  </a:txBody>
                  <a:tcPr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200">
                        <a:solidFill>
                          <a:schemeClr val="tx1"/>
                        </a:solidFill>
                      </a:endParaRPr>
                    </a:p>
                  </a:txBody>
                  <a:tcPr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968068115"/>
                  </a:ext>
                </a:extLst>
              </a:tr>
              <a:tr h="237158">
                <a:tc>
                  <a:txBody>
                    <a:bodyPr/>
                    <a:lstStyle/>
                    <a:p>
                      <a:r>
                        <a:rPr lang="en-US" sz="1200">
                          <a:solidFill>
                            <a:schemeClr val="tx1"/>
                          </a:solidFill>
                        </a:rPr>
                        <a:t>Time since last xx% promotion</a:t>
                      </a:r>
                    </a:p>
                  </a:txBody>
                  <a:tcPr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200">
                        <a:solidFill>
                          <a:schemeClr val="tx1"/>
                        </a:solidFill>
                      </a:endParaRPr>
                    </a:p>
                  </a:txBody>
                  <a:tcPr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200">
                        <a:solidFill>
                          <a:schemeClr val="tx1"/>
                        </a:solidFill>
                      </a:endParaRPr>
                    </a:p>
                  </a:txBody>
                  <a:tcPr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200">
                        <a:solidFill>
                          <a:schemeClr val="tx1"/>
                        </a:solidFill>
                      </a:endParaRPr>
                    </a:p>
                  </a:txBody>
                  <a:tcPr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200">
                        <a:solidFill>
                          <a:schemeClr val="tx1"/>
                        </a:solidFill>
                      </a:endParaRPr>
                    </a:p>
                  </a:txBody>
                  <a:tcPr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942353323"/>
                  </a:ext>
                </a:extLst>
              </a:tr>
              <a:tr h="237158">
                <a:tc>
                  <a:txBody>
                    <a:bodyPr/>
                    <a:lstStyle/>
                    <a:p>
                      <a:r>
                        <a:rPr lang="en-US" sz="1200">
                          <a:solidFill>
                            <a:schemeClr val="tx1"/>
                          </a:solidFill>
                        </a:rPr>
                        <a:t>Seasonal index</a:t>
                      </a:r>
                    </a:p>
                  </a:txBody>
                  <a:tcPr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200">
                        <a:solidFill>
                          <a:schemeClr val="tx1"/>
                        </a:solidFill>
                      </a:endParaRPr>
                    </a:p>
                  </a:txBody>
                  <a:tcPr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200">
                        <a:solidFill>
                          <a:schemeClr val="tx1"/>
                        </a:solidFill>
                      </a:endParaRPr>
                    </a:p>
                  </a:txBody>
                  <a:tcPr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200">
                        <a:solidFill>
                          <a:schemeClr val="tx1"/>
                        </a:solidFill>
                      </a:endParaRPr>
                    </a:p>
                  </a:txBody>
                  <a:tcPr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200">
                        <a:solidFill>
                          <a:schemeClr val="tx1"/>
                        </a:solidFill>
                      </a:endParaRPr>
                    </a:p>
                  </a:txBody>
                  <a:tcPr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108571925"/>
                  </a:ext>
                </a:extLst>
              </a:tr>
              <a:tr h="237158">
                <a:tc>
                  <a:txBody>
                    <a:bodyPr/>
                    <a:lstStyle/>
                    <a:p>
                      <a:r>
                        <a:rPr lang="en-US" sz="1200">
                          <a:solidFill>
                            <a:schemeClr val="tx1"/>
                          </a:solidFill>
                        </a:rPr>
                        <a:t>Ratio of competitor to Best Buy price</a:t>
                      </a:r>
                    </a:p>
                  </a:txBody>
                  <a:tcPr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200">
                        <a:solidFill>
                          <a:schemeClr val="tx1"/>
                        </a:solidFill>
                      </a:endParaRPr>
                    </a:p>
                  </a:txBody>
                  <a:tcPr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200">
                        <a:solidFill>
                          <a:schemeClr val="tx1"/>
                        </a:solidFill>
                      </a:endParaRPr>
                    </a:p>
                  </a:txBody>
                  <a:tcPr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200">
                        <a:solidFill>
                          <a:schemeClr val="tx1"/>
                        </a:solidFill>
                      </a:endParaRPr>
                    </a:p>
                  </a:txBody>
                  <a:tcPr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200">
                        <a:solidFill>
                          <a:schemeClr val="tx1"/>
                        </a:solidFill>
                      </a:endParaRPr>
                    </a:p>
                  </a:txBody>
                  <a:tcPr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247221923"/>
                  </a:ext>
                </a:extLst>
              </a:tr>
              <a:tr h="237158">
                <a:tc>
                  <a:txBody>
                    <a:bodyPr/>
                    <a:lstStyle/>
                    <a:p>
                      <a:r>
                        <a:rPr lang="en-US" sz="1200">
                          <a:solidFill>
                            <a:schemeClr val="tx1"/>
                          </a:solidFill>
                        </a:rPr>
                        <a:t>Inventory level status</a:t>
                      </a:r>
                    </a:p>
                  </a:txBody>
                  <a:tcPr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200">
                        <a:solidFill>
                          <a:schemeClr val="tx1"/>
                        </a:solidFill>
                      </a:endParaRPr>
                    </a:p>
                  </a:txBody>
                  <a:tcPr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200">
                        <a:solidFill>
                          <a:schemeClr val="tx1"/>
                        </a:solidFill>
                      </a:endParaRPr>
                    </a:p>
                  </a:txBody>
                  <a:tcPr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200">
                        <a:solidFill>
                          <a:schemeClr val="tx1"/>
                        </a:solidFill>
                      </a:endParaRPr>
                    </a:p>
                  </a:txBody>
                  <a:tcPr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200">
                        <a:solidFill>
                          <a:schemeClr val="tx1"/>
                        </a:solidFill>
                      </a:endParaRPr>
                    </a:p>
                  </a:txBody>
                  <a:tcPr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598865405"/>
                  </a:ext>
                </a:extLst>
              </a:tr>
              <a:tr h="237158">
                <a:tc>
                  <a:txBody>
                    <a:bodyPr/>
                    <a:lstStyle/>
                    <a:p>
                      <a:r>
                        <a:rPr lang="en-US" sz="1200">
                          <a:solidFill>
                            <a:schemeClr val="tx1"/>
                          </a:solidFill>
                        </a:rPr>
                        <a:t>U.S. inflation</a:t>
                      </a:r>
                    </a:p>
                  </a:txBody>
                  <a:tcPr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200">
                        <a:solidFill>
                          <a:schemeClr val="tx1"/>
                        </a:solidFill>
                      </a:endParaRPr>
                    </a:p>
                  </a:txBody>
                  <a:tcPr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200">
                        <a:solidFill>
                          <a:schemeClr val="tx1"/>
                        </a:solidFill>
                      </a:endParaRPr>
                    </a:p>
                  </a:txBody>
                  <a:tcPr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200">
                        <a:solidFill>
                          <a:schemeClr val="tx1"/>
                        </a:solidFill>
                      </a:endParaRPr>
                    </a:p>
                  </a:txBody>
                  <a:tcPr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200">
                        <a:solidFill>
                          <a:schemeClr val="tx1"/>
                        </a:solidFill>
                      </a:endParaRPr>
                    </a:p>
                  </a:txBody>
                  <a:tcPr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613642322"/>
                  </a:ext>
                </a:extLst>
              </a:tr>
              <a:tr h="237158">
                <a:tc>
                  <a:txBody>
                    <a:bodyPr/>
                    <a:lstStyle/>
                    <a:p>
                      <a:r>
                        <a:rPr lang="en-US" sz="1200">
                          <a:solidFill>
                            <a:schemeClr val="tx1"/>
                          </a:solidFill>
                        </a:rPr>
                        <a:t>U.S. consumer sentiment</a:t>
                      </a:r>
                    </a:p>
                  </a:txBody>
                  <a:tcPr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200">
                        <a:solidFill>
                          <a:schemeClr val="tx1"/>
                        </a:solidFill>
                      </a:endParaRPr>
                    </a:p>
                  </a:txBody>
                  <a:tcPr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200">
                        <a:solidFill>
                          <a:schemeClr val="tx1"/>
                        </a:solidFill>
                      </a:endParaRPr>
                    </a:p>
                  </a:txBody>
                  <a:tcPr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200">
                        <a:solidFill>
                          <a:schemeClr val="tx1"/>
                        </a:solidFill>
                      </a:endParaRPr>
                    </a:p>
                  </a:txBody>
                  <a:tcPr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200">
                        <a:solidFill>
                          <a:schemeClr val="tx1"/>
                        </a:solidFill>
                      </a:endParaRPr>
                    </a:p>
                  </a:txBody>
                  <a:tcPr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86302215"/>
                  </a:ext>
                </a:extLst>
              </a:tr>
              <a:tr h="237158">
                <a:tc>
                  <a:txBody>
                    <a:bodyPr/>
                    <a:lstStyle/>
                    <a:p>
                      <a:r>
                        <a:rPr lang="en-US" sz="1200">
                          <a:solidFill>
                            <a:schemeClr val="tx1"/>
                          </a:solidFill>
                        </a:rPr>
                        <a:t>Global supply chain pressure index</a:t>
                      </a:r>
                    </a:p>
                  </a:txBody>
                  <a:tcPr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200">
                        <a:solidFill>
                          <a:schemeClr val="tx1"/>
                        </a:solidFill>
                      </a:endParaRPr>
                    </a:p>
                  </a:txBody>
                  <a:tcPr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200">
                        <a:solidFill>
                          <a:schemeClr val="tx1"/>
                        </a:solidFill>
                      </a:endParaRPr>
                    </a:p>
                  </a:txBody>
                  <a:tcPr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200">
                        <a:solidFill>
                          <a:schemeClr val="tx1"/>
                        </a:solidFill>
                      </a:endParaRPr>
                    </a:p>
                  </a:txBody>
                  <a:tcPr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200">
                        <a:solidFill>
                          <a:schemeClr val="tx1"/>
                        </a:solidFill>
                      </a:endParaRPr>
                    </a:p>
                  </a:txBody>
                  <a:tcPr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2372309"/>
                  </a:ext>
                </a:extLst>
              </a:tr>
              <a:tr h="237158">
                <a:tc>
                  <a:txBody>
                    <a:bodyPr/>
                    <a:lstStyle/>
                    <a:p>
                      <a:r>
                        <a:rPr lang="en-US" sz="1200">
                          <a:solidFill>
                            <a:schemeClr val="tx1"/>
                          </a:solidFill>
                        </a:rPr>
                        <a:t>U.S. holidays</a:t>
                      </a:r>
                    </a:p>
                  </a:txBody>
                  <a:tcPr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200">
                        <a:solidFill>
                          <a:schemeClr val="tx1"/>
                        </a:solidFill>
                      </a:endParaRPr>
                    </a:p>
                  </a:txBody>
                  <a:tcPr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200">
                        <a:solidFill>
                          <a:schemeClr val="tx1"/>
                        </a:solidFill>
                      </a:endParaRPr>
                    </a:p>
                  </a:txBody>
                  <a:tcPr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200">
                        <a:solidFill>
                          <a:schemeClr val="tx1"/>
                        </a:solidFill>
                      </a:endParaRPr>
                    </a:p>
                  </a:txBody>
                  <a:tcPr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200">
                        <a:solidFill>
                          <a:schemeClr val="tx1"/>
                        </a:solidFill>
                      </a:endParaRPr>
                    </a:p>
                  </a:txBody>
                  <a:tcPr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927515213"/>
                  </a:ext>
                </a:extLst>
              </a:tr>
              <a:tr h="237158">
                <a:tc>
                  <a:txBody>
                    <a:bodyPr/>
                    <a:lstStyle/>
                    <a:p>
                      <a:r>
                        <a:rPr lang="en-US" sz="1200">
                          <a:solidFill>
                            <a:schemeClr val="tx1"/>
                          </a:solidFill>
                        </a:rPr>
                        <a:t>U.S. unemployment rate</a:t>
                      </a:r>
                    </a:p>
                  </a:txBody>
                  <a:tcPr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200">
                        <a:solidFill>
                          <a:schemeClr val="tx1"/>
                        </a:solidFill>
                      </a:endParaRPr>
                    </a:p>
                  </a:txBody>
                  <a:tcPr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200">
                        <a:solidFill>
                          <a:schemeClr val="tx1"/>
                        </a:solidFill>
                      </a:endParaRPr>
                    </a:p>
                  </a:txBody>
                  <a:tcPr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200">
                        <a:solidFill>
                          <a:schemeClr val="tx1"/>
                        </a:solidFill>
                      </a:endParaRPr>
                    </a:p>
                  </a:txBody>
                  <a:tcPr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200">
                        <a:solidFill>
                          <a:schemeClr val="tx1"/>
                        </a:solidFill>
                      </a:endParaRPr>
                    </a:p>
                  </a:txBody>
                  <a:tcPr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781804013"/>
                  </a:ext>
                </a:extLst>
              </a:tr>
              <a:tr h="237158">
                <a:tc>
                  <a:txBody>
                    <a:bodyPr/>
                    <a:lstStyle/>
                    <a:p>
                      <a:r>
                        <a:rPr lang="en-US" sz="1200">
                          <a:solidFill>
                            <a:schemeClr val="tx1"/>
                          </a:solidFill>
                        </a:rPr>
                        <a:t>U.S. major weather events</a:t>
                      </a:r>
                    </a:p>
                  </a:txBody>
                  <a:tcPr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200">
                        <a:solidFill>
                          <a:schemeClr val="tx1"/>
                        </a:solidFill>
                      </a:endParaRPr>
                    </a:p>
                  </a:txBody>
                  <a:tcPr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200">
                        <a:solidFill>
                          <a:schemeClr val="tx1"/>
                        </a:solidFill>
                      </a:endParaRPr>
                    </a:p>
                  </a:txBody>
                  <a:tcPr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200">
                        <a:solidFill>
                          <a:schemeClr val="tx1"/>
                        </a:solidFill>
                      </a:endParaRPr>
                    </a:p>
                  </a:txBody>
                  <a:tcPr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200">
                        <a:solidFill>
                          <a:schemeClr val="tx1"/>
                        </a:solidFill>
                      </a:endParaRPr>
                    </a:p>
                  </a:txBody>
                  <a:tcPr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688626660"/>
                  </a:ext>
                </a:extLst>
              </a:tr>
              <a:tr h="237158">
                <a:tc>
                  <a:txBody>
                    <a:bodyPr/>
                    <a:lstStyle/>
                    <a:p>
                      <a:r>
                        <a:rPr lang="en-US" sz="1200">
                          <a:solidFill>
                            <a:schemeClr val="tx1"/>
                          </a:solidFill>
                        </a:rPr>
                        <a:t>U.S. COVID-19 cases</a:t>
                      </a:r>
                    </a:p>
                  </a:txBody>
                  <a:tcPr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200">
                        <a:solidFill>
                          <a:schemeClr val="tx1"/>
                        </a:solidFill>
                      </a:endParaRPr>
                    </a:p>
                  </a:txBody>
                  <a:tcPr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200">
                        <a:solidFill>
                          <a:schemeClr val="tx1"/>
                        </a:solidFill>
                      </a:endParaRPr>
                    </a:p>
                  </a:txBody>
                  <a:tcPr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200">
                        <a:solidFill>
                          <a:schemeClr val="tx1"/>
                        </a:solidFill>
                      </a:endParaRPr>
                    </a:p>
                  </a:txBody>
                  <a:tcPr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200">
                        <a:solidFill>
                          <a:schemeClr val="tx1"/>
                        </a:solidFill>
                      </a:endParaRPr>
                    </a:p>
                  </a:txBody>
                  <a:tcPr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92472503"/>
                  </a:ext>
                </a:extLst>
              </a:tr>
              <a:tr h="237158">
                <a:tc>
                  <a:txBody>
                    <a:bodyPr/>
                    <a:lstStyle/>
                    <a:p>
                      <a:r>
                        <a:rPr lang="en-US" sz="1200">
                          <a:solidFill>
                            <a:schemeClr val="tx1"/>
                          </a:solidFill>
                        </a:rPr>
                        <a:t>U.S. personal consumption expenditures</a:t>
                      </a:r>
                    </a:p>
                  </a:txBody>
                  <a:tcPr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200">
                        <a:solidFill>
                          <a:schemeClr val="tx1"/>
                        </a:solidFill>
                      </a:endParaRPr>
                    </a:p>
                  </a:txBody>
                  <a:tcPr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200">
                        <a:solidFill>
                          <a:schemeClr val="tx1"/>
                        </a:solidFill>
                      </a:endParaRPr>
                    </a:p>
                  </a:txBody>
                  <a:tcPr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200">
                        <a:solidFill>
                          <a:schemeClr val="tx1"/>
                        </a:solidFill>
                      </a:endParaRPr>
                    </a:p>
                  </a:txBody>
                  <a:tcPr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200">
                        <a:solidFill>
                          <a:schemeClr val="tx1"/>
                        </a:solidFill>
                      </a:endParaRPr>
                    </a:p>
                  </a:txBody>
                  <a:tcPr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63207230"/>
                  </a:ext>
                </a:extLst>
              </a:tr>
            </a:tbl>
          </a:graphicData>
        </a:graphic>
      </p:graphicFrame>
      <p:grpSp>
        <p:nvGrpSpPr>
          <p:cNvPr id="1037" name="Gruppieren 253">
            <a:extLst>
              <a:ext uri="{FF2B5EF4-FFF2-40B4-BE49-F238E27FC236}">
                <a16:creationId xmlns:a16="http://schemas.microsoft.com/office/drawing/2014/main" id="{F3CCB9DA-FCFA-9ED5-F897-72E20B84D288}"/>
              </a:ext>
            </a:extLst>
          </p:cNvPr>
          <p:cNvGrpSpPr/>
          <p:nvPr/>
        </p:nvGrpSpPr>
        <p:grpSpPr>
          <a:xfrm>
            <a:off x="7966272" y="1712897"/>
            <a:ext cx="224648" cy="224648"/>
            <a:chOff x="9787094" y="3428364"/>
            <a:chExt cx="436765" cy="436765"/>
          </a:xfrm>
        </p:grpSpPr>
        <p:sp>
          <p:nvSpPr>
            <p:cNvPr id="1038" name="Oval 51">
              <a:extLst>
                <a:ext uri="{FF2B5EF4-FFF2-40B4-BE49-F238E27FC236}">
                  <a16:creationId xmlns:a16="http://schemas.microsoft.com/office/drawing/2014/main" id="{AFA448F4-DFBB-B5E6-99B3-0A1BEA0AC2B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787094" y="3428364"/>
              <a:ext cx="436765" cy="436765"/>
            </a:xfrm>
            <a:prstGeom prst="ellipse">
              <a:avLst/>
            </a:prstGeom>
            <a:solidFill>
              <a:srgbClr val="2C973E"/>
            </a:solidFill>
            <a:ln w="12700">
              <a:noFill/>
              <a:round/>
              <a:headEnd/>
              <a:tailEnd/>
            </a:ln>
          </p:spPr>
          <p:txBody>
            <a:bodyPr wrap="none" lIns="36000" tIns="36000" rIns="36000" bIns="36000" anchor="ctr"/>
            <a:lstStyle/>
            <a:p>
              <a:pPr marL="0" marR="0" lvl="0" indent="0" algn="ctr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lavika" panose="02000000000000000000"/>
              </a:endParaRPr>
            </a:p>
          </p:txBody>
        </p:sp>
        <p:pic>
          <p:nvPicPr>
            <p:cNvPr id="1039" name="Grafik 252" descr="Daumen-hoch-Zeichen">
              <a:extLst>
                <a:ext uri="{FF2B5EF4-FFF2-40B4-BE49-F238E27FC236}">
                  <a16:creationId xmlns:a16="http://schemas.microsoft.com/office/drawing/2014/main" id="{DCCB6ED3-2C1A-DAB9-01DD-205F9751D2CF}"/>
                </a:ext>
              </a:extLst>
            </p:cNvPr>
            <p:cNvPicPr>
              <a:picLocks noChangeAspect="1"/>
            </p:cNvPicPr>
            <p:nvPr/>
          </p:nvPicPr>
          <p:blipFill>
            <a:blip r:embed="rId42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3"/>
                </a:ext>
              </a:extLst>
            </a:blip>
            <a:stretch>
              <a:fillRect/>
            </a:stretch>
          </p:blipFill>
          <p:spPr>
            <a:xfrm>
              <a:off x="9838151" y="3455704"/>
              <a:ext cx="341444" cy="341444"/>
            </a:xfrm>
            <a:prstGeom prst="rect">
              <a:avLst/>
            </a:prstGeom>
          </p:spPr>
        </p:pic>
      </p:grpSp>
      <p:sp>
        <p:nvSpPr>
          <p:cNvPr id="1040" name="Freeform 12">
            <a:extLst>
              <a:ext uri="{FF2B5EF4-FFF2-40B4-BE49-F238E27FC236}">
                <a16:creationId xmlns:a16="http://schemas.microsoft.com/office/drawing/2014/main" id="{D81EA4D3-B488-DEDE-6E7A-D82EF769DA6B}"/>
              </a:ext>
            </a:extLst>
          </p:cNvPr>
          <p:cNvSpPr>
            <a:spLocks noChangeAspect="1"/>
          </p:cNvSpPr>
          <p:nvPr>
            <p:custDataLst>
              <p:tags r:id="rId2"/>
            </p:custDataLst>
          </p:nvPr>
        </p:nvSpPr>
        <p:spPr bwMode="auto">
          <a:xfrm>
            <a:off x="4040277" y="1930185"/>
            <a:ext cx="279409" cy="264387"/>
          </a:xfrm>
          <a:custGeom>
            <a:avLst/>
            <a:gdLst>
              <a:gd name="T0" fmla="*/ 561 w 573"/>
              <a:gd name="T1" fmla="*/ 0 h 543"/>
              <a:gd name="T2" fmla="*/ 167 w 573"/>
              <a:gd name="T3" fmla="*/ 396 h 543"/>
              <a:gd name="T4" fmla="*/ 86 w 573"/>
              <a:gd name="T5" fmla="*/ 282 h 543"/>
              <a:gd name="T6" fmla="*/ 0 w 573"/>
              <a:gd name="T7" fmla="*/ 330 h 543"/>
              <a:gd name="T8" fmla="*/ 128 w 573"/>
              <a:gd name="T9" fmla="*/ 543 h 543"/>
              <a:gd name="T10" fmla="*/ 215 w 573"/>
              <a:gd name="T11" fmla="*/ 482 h 543"/>
              <a:gd name="T12" fmla="*/ 573 w 573"/>
              <a:gd name="T13" fmla="*/ 18 h 543"/>
              <a:gd name="T14" fmla="*/ 561 w 573"/>
              <a:gd name="T15" fmla="*/ 0 h 543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573"/>
              <a:gd name="T25" fmla="*/ 0 h 543"/>
              <a:gd name="T26" fmla="*/ 573 w 573"/>
              <a:gd name="T27" fmla="*/ 543 h 543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573" h="543">
                <a:moveTo>
                  <a:pt x="561" y="0"/>
                </a:moveTo>
                <a:cubicBezTo>
                  <a:pt x="350" y="120"/>
                  <a:pt x="212" y="317"/>
                  <a:pt x="167" y="396"/>
                </a:cubicBezTo>
                <a:cubicBezTo>
                  <a:pt x="132" y="318"/>
                  <a:pt x="110" y="290"/>
                  <a:pt x="86" y="282"/>
                </a:cubicBezTo>
                <a:cubicBezTo>
                  <a:pt x="32" y="285"/>
                  <a:pt x="9" y="321"/>
                  <a:pt x="0" y="330"/>
                </a:cubicBezTo>
                <a:cubicBezTo>
                  <a:pt x="62" y="348"/>
                  <a:pt x="119" y="504"/>
                  <a:pt x="128" y="543"/>
                </a:cubicBezTo>
                <a:cubicBezTo>
                  <a:pt x="171" y="512"/>
                  <a:pt x="215" y="482"/>
                  <a:pt x="215" y="482"/>
                </a:cubicBezTo>
                <a:cubicBezTo>
                  <a:pt x="251" y="405"/>
                  <a:pt x="359" y="200"/>
                  <a:pt x="573" y="18"/>
                </a:cubicBezTo>
                <a:cubicBezTo>
                  <a:pt x="573" y="18"/>
                  <a:pt x="567" y="9"/>
                  <a:pt x="561" y="0"/>
                </a:cubicBezTo>
                <a:close/>
              </a:path>
            </a:pathLst>
          </a:custGeom>
          <a:solidFill>
            <a:srgbClr val="2C973E"/>
          </a:solidFill>
          <a:ln w="3175">
            <a:noFill/>
            <a:prstDash val="dash"/>
            <a:round/>
            <a:headEnd/>
            <a:tailEnd/>
          </a:ln>
          <a:effectLst/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Klavika" panose="02000000000000000000"/>
            </a:endParaRPr>
          </a:p>
        </p:txBody>
      </p:sp>
      <p:grpSp>
        <p:nvGrpSpPr>
          <p:cNvPr id="1041" name="Group 5">
            <a:extLst>
              <a:ext uri="{FF2B5EF4-FFF2-40B4-BE49-F238E27FC236}">
                <a16:creationId xmlns:a16="http://schemas.microsoft.com/office/drawing/2014/main" id="{186AF146-2818-AC4E-7769-7E8B9C9A9876}"/>
              </a:ext>
            </a:extLst>
          </p:cNvPr>
          <p:cNvGrpSpPr>
            <a:grpSpLocks noChangeAspect="1"/>
          </p:cNvGrpSpPr>
          <p:nvPr>
            <p:custDataLst>
              <p:tags r:id="rId3"/>
            </p:custDataLst>
          </p:nvPr>
        </p:nvGrpSpPr>
        <p:grpSpPr bwMode="auto">
          <a:xfrm>
            <a:off x="4050806" y="1690057"/>
            <a:ext cx="258351" cy="270328"/>
            <a:chOff x="1117" y="1342"/>
            <a:chExt cx="2260" cy="2366"/>
          </a:xfrm>
          <a:solidFill>
            <a:srgbClr val="FF0000"/>
          </a:solidFill>
        </p:grpSpPr>
        <p:sp>
          <p:nvSpPr>
            <p:cNvPr id="1042" name="Freeform 6">
              <a:extLst>
                <a:ext uri="{FF2B5EF4-FFF2-40B4-BE49-F238E27FC236}">
                  <a16:creationId xmlns:a16="http://schemas.microsoft.com/office/drawing/2014/main" id="{40D62B57-8A7C-04E8-175F-17681E05B57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7" y="1342"/>
              <a:ext cx="2260" cy="2315"/>
            </a:xfrm>
            <a:custGeom>
              <a:avLst/>
              <a:gdLst>
                <a:gd name="T0" fmla="*/ 30 w 2260"/>
                <a:gd name="T1" fmla="*/ 181 h 2315"/>
                <a:gd name="T2" fmla="*/ 743 w 2260"/>
                <a:gd name="T3" fmla="*/ 1186 h 2315"/>
                <a:gd name="T4" fmla="*/ 1838 w 2260"/>
                <a:gd name="T5" fmla="*/ 2154 h 2315"/>
                <a:gd name="T6" fmla="*/ 1935 w 2260"/>
                <a:gd name="T7" fmla="*/ 2064 h 2315"/>
                <a:gd name="T8" fmla="*/ 2025 w 2260"/>
                <a:gd name="T9" fmla="*/ 2079 h 2315"/>
                <a:gd name="T10" fmla="*/ 2100 w 2260"/>
                <a:gd name="T11" fmla="*/ 2004 h 2315"/>
                <a:gd name="T12" fmla="*/ 2228 w 2260"/>
                <a:gd name="T13" fmla="*/ 1989 h 2315"/>
                <a:gd name="T14" fmla="*/ 2220 w 2260"/>
                <a:gd name="T15" fmla="*/ 1936 h 2315"/>
                <a:gd name="T16" fmla="*/ 1125 w 2260"/>
                <a:gd name="T17" fmla="*/ 1044 h 2315"/>
                <a:gd name="T18" fmla="*/ 540 w 2260"/>
                <a:gd name="T19" fmla="*/ 346 h 2315"/>
                <a:gd name="T20" fmla="*/ 360 w 2260"/>
                <a:gd name="T21" fmla="*/ 24 h 2315"/>
                <a:gd name="T22" fmla="*/ 315 w 2260"/>
                <a:gd name="T23" fmla="*/ 16 h 2315"/>
                <a:gd name="T24" fmla="*/ 263 w 2260"/>
                <a:gd name="T25" fmla="*/ 76 h 2315"/>
                <a:gd name="T26" fmla="*/ 270 w 2260"/>
                <a:gd name="T27" fmla="*/ 159 h 2315"/>
                <a:gd name="T28" fmla="*/ 195 w 2260"/>
                <a:gd name="T29" fmla="*/ 144 h 2315"/>
                <a:gd name="T30" fmla="*/ 143 w 2260"/>
                <a:gd name="T31" fmla="*/ 204 h 2315"/>
                <a:gd name="T32" fmla="*/ 30 w 2260"/>
                <a:gd name="T33" fmla="*/ 181 h 2315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w 2260"/>
                <a:gd name="T52" fmla="*/ 0 h 2315"/>
                <a:gd name="T53" fmla="*/ 2260 w 2260"/>
                <a:gd name="T54" fmla="*/ 2315 h 2315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T51" t="T52" r="T53" b="T54"/>
              <a:pathLst>
                <a:path w="2260" h="2315">
                  <a:moveTo>
                    <a:pt x="30" y="181"/>
                  </a:moveTo>
                  <a:cubicBezTo>
                    <a:pt x="0" y="361"/>
                    <a:pt x="442" y="857"/>
                    <a:pt x="743" y="1186"/>
                  </a:cubicBezTo>
                  <a:cubicBezTo>
                    <a:pt x="1044" y="1515"/>
                    <a:pt x="1639" y="2008"/>
                    <a:pt x="1838" y="2154"/>
                  </a:cubicBezTo>
                  <a:cubicBezTo>
                    <a:pt x="2051" y="2315"/>
                    <a:pt x="1875" y="2084"/>
                    <a:pt x="1935" y="2064"/>
                  </a:cubicBezTo>
                  <a:cubicBezTo>
                    <a:pt x="1966" y="2052"/>
                    <a:pt x="1998" y="2089"/>
                    <a:pt x="2025" y="2079"/>
                  </a:cubicBezTo>
                  <a:cubicBezTo>
                    <a:pt x="2052" y="2069"/>
                    <a:pt x="2066" y="2019"/>
                    <a:pt x="2100" y="2004"/>
                  </a:cubicBezTo>
                  <a:cubicBezTo>
                    <a:pt x="2116" y="1995"/>
                    <a:pt x="2228" y="1989"/>
                    <a:pt x="2228" y="1989"/>
                  </a:cubicBezTo>
                  <a:cubicBezTo>
                    <a:pt x="2239" y="1954"/>
                    <a:pt x="2260" y="1950"/>
                    <a:pt x="2220" y="1936"/>
                  </a:cubicBezTo>
                  <a:cubicBezTo>
                    <a:pt x="2010" y="1745"/>
                    <a:pt x="1404" y="1343"/>
                    <a:pt x="1125" y="1044"/>
                  </a:cubicBezTo>
                  <a:cubicBezTo>
                    <a:pt x="845" y="779"/>
                    <a:pt x="639" y="464"/>
                    <a:pt x="540" y="346"/>
                  </a:cubicBezTo>
                  <a:cubicBezTo>
                    <a:pt x="413" y="176"/>
                    <a:pt x="390" y="50"/>
                    <a:pt x="360" y="24"/>
                  </a:cubicBezTo>
                  <a:cubicBezTo>
                    <a:pt x="355" y="33"/>
                    <a:pt x="325" y="13"/>
                    <a:pt x="315" y="16"/>
                  </a:cubicBezTo>
                  <a:cubicBezTo>
                    <a:pt x="284" y="0"/>
                    <a:pt x="296" y="87"/>
                    <a:pt x="263" y="76"/>
                  </a:cubicBezTo>
                  <a:cubicBezTo>
                    <a:pt x="243" y="106"/>
                    <a:pt x="296" y="133"/>
                    <a:pt x="270" y="159"/>
                  </a:cubicBezTo>
                  <a:cubicBezTo>
                    <a:pt x="209" y="220"/>
                    <a:pt x="248" y="152"/>
                    <a:pt x="195" y="144"/>
                  </a:cubicBezTo>
                  <a:cubicBezTo>
                    <a:pt x="171" y="144"/>
                    <a:pt x="170" y="198"/>
                    <a:pt x="143" y="204"/>
                  </a:cubicBezTo>
                  <a:cubicBezTo>
                    <a:pt x="116" y="210"/>
                    <a:pt x="54" y="186"/>
                    <a:pt x="30" y="18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pPr marL="0" marR="0" lvl="0" indent="0" defTabSz="914400" eaLnBrk="0" fontAlgn="base" latinLnBrk="0" hangingPunct="0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>
                  <a:srgbClr val="3C58A1"/>
                </a:buClr>
                <a:buSzPct val="80000"/>
                <a:buFont typeface="Wingdings" pitchFamily="2" charset="2"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lavika" panose="02000000000000000000"/>
              </a:endParaRPr>
            </a:p>
          </p:txBody>
        </p:sp>
        <p:sp>
          <p:nvSpPr>
            <p:cNvPr id="1043" name="Freeform 7">
              <a:extLst>
                <a:ext uri="{FF2B5EF4-FFF2-40B4-BE49-F238E27FC236}">
                  <a16:creationId xmlns:a16="http://schemas.microsoft.com/office/drawing/2014/main" id="{95A1C9C0-B562-3CC7-2D6A-D3E14B9929A6}"/>
                </a:ext>
              </a:extLst>
            </p:cNvPr>
            <p:cNvSpPr>
              <a:spLocks/>
            </p:cNvSpPr>
            <p:nvPr/>
          </p:nvSpPr>
          <p:spPr bwMode="auto">
            <a:xfrm flipV="1">
              <a:off x="1177" y="1394"/>
              <a:ext cx="1922" cy="2314"/>
            </a:xfrm>
            <a:custGeom>
              <a:avLst/>
              <a:gdLst>
                <a:gd name="T0" fmla="*/ 26 w 2087"/>
                <a:gd name="T1" fmla="*/ 206 h 2502"/>
                <a:gd name="T2" fmla="*/ 483 w 2087"/>
                <a:gd name="T3" fmla="*/ 1175 h 2502"/>
                <a:gd name="T4" fmla="*/ 1412 w 2087"/>
                <a:gd name="T5" fmla="*/ 2002 h 2502"/>
                <a:gd name="T6" fmla="*/ 1495 w 2087"/>
                <a:gd name="T7" fmla="*/ 1926 h 2502"/>
                <a:gd name="T8" fmla="*/ 1571 w 2087"/>
                <a:gd name="T9" fmla="*/ 1939 h 2502"/>
                <a:gd name="T10" fmla="*/ 1635 w 2087"/>
                <a:gd name="T11" fmla="*/ 1874 h 2502"/>
                <a:gd name="T12" fmla="*/ 1743 w 2087"/>
                <a:gd name="T13" fmla="*/ 1861 h 2502"/>
                <a:gd name="T14" fmla="*/ 1736 w 2087"/>
                <a:gd name="T15" fmla="*/ 1816 h 2502"/>
                <a:gd name="T16" fmla="*/ 375 w 2087"/>
                <a:gd name="T17" fmla="*/ 232 h 2502"/>
                <a:gd name="T18" fmla="*/ 324 w 2087"/>
                <a:gd name="T19" fmla="*/ 58 h 2502"/>
                <a:gd name="T20" fmla="*/ 274 w 2087"/>
                <a:gd name="T21" fmla="*/ 97 h 2502"/>
                <a:gd name="T22" fmla="*/ 248 w 2087"/>
                <a:gd name="T23" fmla="*/ 104 h 2502"/>
                <a:gd name="T24" fmla="*/ 166 w 2087"/>
                <a:gd name="T25" fmla="*/ 65 h 2502"/>
                <a:gd name="T26" fmla="*/ 127 w 2087"/>
                <a:gd name="T27" fmla="*/ 148 h 2502"/>
                <a:gd name="T28" fmla="*/ 44 w 2087"/>
                <a:gd name="T29" fmla="*/ 174 h 2502"/>
                <a:gd name="T30" fmla="*/ 26 w 2087"/>
                <a:gd name="T31" fmla="*/ 206 h 2502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2087"/>
                <a:gd name="T49" fmla="*/ 0 h 2502"/>
                <a:gd name="T50" fmla="*/ 2087 w 2087"/>
                <a:gd name="T51" fmla="*/ 2502 h 2502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2087" h="2502">
                  <a:moveTo>
                    <a:pt x="30" y="241"/>
                  </a:moveTo>
                  <a:cubicBezTo>
                    <a:pt x="0" y="421"/>
                    <a:pt x="297" y="1023"/>
                    <a:pt x="570" y="1373"/>
                  </a:cubicBezTo>
                  <a:cubicBezTo>
                    <a:pt x="843" y="1723"/>
                    <a:pt x="1466" y="2195"/>
                    <a:pt x="1665" y="2341"/>
                  </a:cubicBezTo>
                  <a:cubicBezTo>
                    <a:pt x="1878" y="2502"/>
                    <a:pt x="1702" y="2271"/>
                    <a:pt x="1762" y="2251"/>
                  </a:cubicBezTo>
                  <a:cubicBezTo>
                    <a:pt x="1793" y="2239"/>
                    <a:pt x="1825" y="2276"/>
                    <a:pt x="1852" y="2266"/>
                  </a:cubicBezTo>
                  <a:cubicBezTo>
                    <a:pt x="1879" y="2256"/>
                    <a:pt x="1893" y="2206"/>
                    <a:pt x="1927" y="2191"/>
                  </a:cubicBezTo>
                  <a:cubicBezTo>
                    <a:pt x="1943" y="2182"/>
                    <a:pt x="2055" y="2176"/>
                    <a:pt x="2055" y="2176"/>
                  </a:cubicBezTo>
                  <a:cubicBezTo>
                    <a:pt x="2066" y="2141"/>
                    <a:pt x="2087" y="2137"/>
                    <a:pt x="2047" y="2123"/>
                  </a:cubicBezTo>
                  <a:cubicBezTo>
                    <a:pt x="1778" y="1806"/>
                    <a:pt x="682" y="1298"/>
                    <a:pt x="442" y="271"/>
                  </a:cubicBezTo>
                  <a:cubicBezTo>
                    <a:pt x="427" y="204"/>
                    <a:pt x="420" y="126"/>
                    <a:pt x="382" y="68"/>
                  </a:cubicBezTo>
                  <a:cubicBezTo>
                    <a:pt x="360" y="0"/>
                    <a:pt x="330" y="97"/>
                    <a:pt x="322" y="113"/>
                  </a:cubicBezTo>
                  <a:cubicBezTo>
                    <a:pt x="317" y="122"/>
                    <a:pt x="302" y="118"/>
                    <a:pt x="292" y="121"/>
                  </a:cubicBezTo>
                  <a:cubicBezTo>
                    <a:pt x="261" y="105"/>
                    <a:pt x="228" y="87"/>
                    <a:pt x="195" y="76"/>
                  </a:cubicBezTo>
                  <a:cubicBezTo>
                    <a:pt x="175" y="106"/>
                    <a:pt x="176" y="147"/>
                    <a:pt x="150" y="173"/>
                  </a:cubicBezTo>
                  <a:cubicBezTo>
                    <a:pt x="89" y="234"/>
                    <a:pt x="156" y="151"/>
                    <a:pt x="52" y="203"/>
                  </a:cubicBezTo>
                  <a:cubicBezTo>
                    <a:pt x="39" y="210"/>
                    <a:pt x="37" y="228"/>
                    <a:pt x="30" y="24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pPr marL="0" marR="0" lvl="0" indent="0" defTabSz="914400" eaLnBrk="0" fontAlgn="base" latinLnBrk="0" hangingPunct="0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>
                  <a:srgbClr val="3C58A1"/>
                </a:buClr>
                <a:buSzPct val="80000"/>
                <a:buFont typeface="Wingdings" pitchFamily="2" charset="2"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lavika" panose="02000000000000000000"/>
              </a:endParaRPr>
            </a:p>
          </p:txBody>
        </p:sp>
      </p:grpSp>
      <p:sp>
        <p:nvSpPr>
          <p:cNvPr id="1044" name="Freeform 12">
            <a:extLst>
              <a:ext uri="{FF2B5EF4-FFF2-40B4-BE49-F238E27FC236}">
                <a16:creationId xmlns:a16="http://schemas.microsoft.com/office/drawing/2014/main" id="{B8D0E7F6-F664-95DD-4C54-5C7E49492A2C}"/>
              </a:ext>
            </a:extLst>
          </p:cNvPr>
          <p:cNvSpPr>
            <a:spLocks noChangeAspect="1"/>
          </p:cNvSpPr>
          <p:nvPr>
            <p:custDataLst>
              <p:tags r:id="rId4"/>
            </p:custDataLst>
          </p:nvPr>
        </p:nvSpPr>
        <p:spPr bwMode="auto">
          <a:xfrm>
            <a:off x="4040277" y="2404501"/>
            <a:ext cx="279409" cy="264387"/>
          </a:xfrm>
          <a:custGeom>
            <a:avLst/>
            <a:gdLst>
              <a:gd name="T0" fmla="*/ 561 w 573"/>
              <a:gd name="T1" fmla="*/ 0 h 543"/>
              <a:gd name="T2" fmla="*/ 167 w 573"/>
              <a:gd name="T3" fmla="*/ 396 h 543"/>
              <a:gd name="T4" fmla="*/ 86 w 573"/>
              <a:gd name="T5" fmla="*/ 282 h 543"/>
              <a:gd name="T6" fmla="*/ 0 w 573"/>
              <a:gd name="T7" fmla="*/ 330 h 543"/>
              <a:gd name="T8" fmla="*/ 128 w 573"/>
              <a:gd name="T9" fmla="*/ 543 h 543"/>
              <a:gd name="T10" fmla="*/ 215 w 573"/>
              <a:gd name="T11" fmla="*/ 482 h 543"/>
              <a:gd name="T12" fmla="*/ 573 w 573"/>
              <a:gd name="T13" fmla="*/ 18 h 543"/>
              <a:gd name="T14" fmla="*/ 561 w 573"/>
              <a:gd name="T15" fmla="*/ 0 h 543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573"/>
              <a:gd name="T25" fmla="*/ 0 h 543"/>
              <a:gd name="T26" fmla="*/ 573 w 573"/>
              <a:gd name="T27" fmla="*/ 543 h 543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573" h="543">
                <a:moveTo>
                  <a:pt x="561" y="0"/>
                </a:moveTo>
                <a:cubicBezTo>
                  <a:pt x="350" y="120"/>
                  <a:pt x="212" y="317"/>
                  <a:pt x="167" y="396"/>
                </a:cubicBezTo>
                <a:cubicBezTo>
                  <a:pt x="132" y="318"/>
                  <a:pt x="110" y="290"/>
                  <a:pt x="86" y="282"/>
                </a:cubicBezTo>
                <a:cubicBezTo>
                  <a:pt x="32" y="285"/>
                  <a:pt x="9" y="321"/>
                  <a:pt x="0" y="330"/>
                </a:cubicBezTo>
                <a:cubicBezTo>
                  <a:pt x="62" y="348"/>
                  <a:pt x="119" y="504"/>
                  <a:pt x="128" y="543"/>
                </a:cubicBezTo>
                <a:cubicBezTo>
                  <a:pt x="171" y="512"/>
                  <a:pt x="215" y="482"/>
                  <a:pt x="215" y="482"/>
                </a:cubicBezTo>
                <a:cubicBezTo>
                  <a:pt x="251" y="405"/>
                  <a:pt x="359" y="200"/>
                  <a:pt x="573" y="18"/>
                </a:cubicBezTo>
                <a:cubicBezTo>
                  <a:pt x="573" y="18"/>
                  <a:pt x="567" y="9"/>
                  <a:pt x="561" y="0"/>
                </a:cubicBezTo>
                <a:close/>
              </a:path>
            </a:pathLst>
          </a:custGeom>
          <a:solidFill>
            <a:srgbClr val="2C973E"/>
          </a:solidFill>
          <a:ln w="3175">
            <a:noFill/>
            <a:prstDash val="dash"/>
            <a:round/>
            <a:headEnd/>
            <a:tailEnd/>
          </a:ln>
          <a:effectLst/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Klavika" panose="02000000000000000000"/>
            </a:endParaRPr>
          </a:p>
        </p:txBody>
      </p:sp>
      <p:grpSp>
        <p:nvGrpSpPr>
          <p:cNvPr id="1045" name="Group 5">
            <a:extLst>
              <a:ext uri="{FF2B5EF4-FFF2-40B4-BE49-F238E27FC236}">
                <a16:creationId xmlns:a16="http://schemas.microsoft.com/office/drawing/2014/main" id="{5CBFEED6-6084-836D-CBB6-CB55EC0EEDD9}"/>
              </a:ext>
            </a:extLst>
          </p:cNvPr>
          <p:cNvGrpSpPr>
            <a:grpSpLocks noChangeAspect="1"/>
          </p:cNvGrpSpPr>
          <p:nvPr>
            <p:custDataLst>
              <p:tags r:id="rId5"/>
            </p:custDataLst>
          </p:nvPr>
        </p:nvGrpSpPr>
        <p:grpSpPr bwMode="auto">
          <a:xfrm>
            <a:off x="4050806" y="2164373"/>
            <a:ext cx="258351" cy="270328"/>
            <a:chOff x="1117" y="1342"/>
            <a:chExt cx="2260" cy="2366"/>
          </a:xfrm>
          <a:solidFill>
            <a:srgbClr val="FF0000"/>
          </a:solidFill>
        </p:grpSpPr>
        <p:sp>
          <p:nvSpPr>
            <p:cNvPr id="1046" name="Freeform 6">
              <a:extLst>
                <a:ext uri="{FF2B5EF4-FFF2-40B4-BE49-F238E27FC236}">
                  <a16:creationId xmlns:a16="http://schemas.microsoft.com/office/drawing/2014/main" id="{F8FC4185-E93D-144F-9089-55A699E3356D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7" y="1342"/>
              <a:ext cx="2260" cy="2315"/>
            </a:xfrm>
            <a:custGeom>
              <a:avLst/>
              <a:gdLst>
                <a:gd name="T0" fmla="*/ 30 w 2260"/>
                <a:gd name="T1" fmla="*/ 181 h 2315"/>
                <a:gd name="T2" fmla="*/ 743 w 2260"/>
                <a:gd name="T3" fmla="*/ 1186 h 2315"/>
                <a:gd name="T4" fmla="*/ 1838 w 2260"/>
                <a:gd name="T5" fmla="*/ 2154 h 2315"/>
                <a:gd name="T6" fmla="*/ 1935 w 2260"/>
                <a:gd name="T7" fmla="*/ 2064 h 2315"/>
                <a:gd name="T8" fmla="*/ 2025 w 2260"/>
                <a:gd name="T9" fmla="*/ 2079 h 2315"/>
                <a:gd name="T10" fmla="*/ 2100 w 2260"/>
                <a:gd name="T11" fmla="*/ 2004 h 2315"/>
                <a:gd name="T12" fmla="*/ 2228 w 2260"/>
                <a:gd name="T13" fmla="*/ 1989 h 2315"/>
                <a:gd name="T14" fmla="*/ 2220 w 2260"/>
                <a:gd name="T15" fmla="*/ 1936 h 2315"/>
                <a:gd name="T16" fmla="*/ 1125 w 2260"/>
                <a:gd name="T17" fmla="*/ 1044 h 2315"/>
                <a:gd name="T18" fmla="*/ 540 w 2260"/>
                <a:gd name="T19" fmla="*/ 346 h 2315"/>
                <a:gd name="T20" fmla="*/ 360 w 2260"/>
                <a:gd name="T21" fmla="*/ 24 h 2315"/>
                <a:gd name="T22" fmla="*/ 315 w 2260"/>
                <a:gd name="T23" fmla="*/ 16 h 2315"/>
                <a:gd name="T24" fmla="*/ 263 w 2260"/>
                <a:gd name="T25" fmla="*/ 76 h 2315"/>
                <a:gd name="T26" fmla="*/ 270 w 2260"/>
                <a:gd name="T27" fmla="*/ 159 h 2315"/>
                <a:gd name="T28" fmla="*/ 195 w 2260"/>
                <a:gd name="T29" fmla="*/ 144 h 2315"/>
                <a:gd name="T30" fmla="*/ 143 w 2260"/>
                <a:gd name="T31" fmla="*/ 204 h 2315"/>
                <a:gd name="T32" fmla="*/ 30 w 2260"/>
                <a:gd name="T33" fmla="*/ 181 h 2315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w 2260"/>
                <a:gd name="T52" fmla="*/ 0 h 2315"/>
                <a:gd name="T53" fmla="*/ 2260 w 2260"/>
                <a:gd name="T54" fmla="*/ 2315 h 2315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T51" t="T52" r="T53" b="T54"/>
              <a:pathLst>
                <a:path w="2260" h="2315">
                  <a:moveTo>
                    <a:pt x="30" y="181"/>
                  </a:moveTo>
                  <a:cubicBezTo>
                    <a:pt x="0" y="361"/>
                    <a:pt x="442" y="857"/>
                    <a:pt x="743" y="1186"/>
                  </a:cubicBezTo>
                  <a:cubicBezTo>
                    <a:pt x="1044" y="1515"/>
                    <a:pt x="1639" y="2008"/>
                    <a:pt x="1838" y="2154"/>
                  </a:cubicBezTo>
                  <a:cubicBezTo>
                    <a:pt x="2051" y="2315"/>
                    <a:pt x="1875" y="2084"/>
                    <a:pt x="1935" y="2064"/>
                  </a:cubicBezTo>
                  <a:cubicBezTo>
                    <a:pt x="1966" y="2052"/>
                    <a:pt x="1998" y="2089"/>
                    <a:pt x="2025" y="2079"/>
                  </a:cubicBezTo>
                  <a:cubicBezTo>
                    <a:pt x="2052" y="2069"/>
                    <a:pt x="2066" y="2019"/>
                    <a:pt x="2100" y="2004"/>
                  </a:cubicBezTo>
                  <a:cubicBezTo>
                    <a:pt x="2116" y="1995"/>
                    <a:pt x="2228" y="1989"/>
                    <a:pt x="2228" y="1989"/>
                  </a:cubicBezTo>
                  <a:cubicBezTo>
                    <a:pt x="2239" y="1954"/>
                    <a:pt x="2260" y="1950"/>
                    <a:pt x="2220" y="1936"/>
                  </a:cubicBezTo>
                  <a:cubicBezTo>
                    <a:pt x="2010" y="1745"/>
                    <a:pt x="1404" y="1343"/>
                    <a:pt x="1125" y="1044"/>
                  </a:cubicBezTo>
                  <a:cubicBezTo>
                    <a:pt x="845" y="779"/>
                    <a:pt x="639" y="464"/>
                    <a:pt x="540" y="346"/>
                  </a:cubicBezTo>
                  <a:cubicBezTo>
                    <a:pt x="413" y="176"/>
                    <a:pt x="390" y="50"/>
                    <a:pt x="360" y="24"/>
                  </a:cubicBezTo>
                  <a:cubicBezTo>
                    <a:pt x="355" y="33"/>
                    <a:pt x="325" y="13"/>
                    <a:pt x="315" y="16"/>
                  </a:cubicBezTo>
                  <a:cubicBezTo>
                    <a:pt x="284" y="0"/>
                    <a:pt x="296" y="87"/>
                    <a:pt x="263" y="76"/>
                  </a:cubicBezTo>
                  <a:cubicBezTo>
                    <a:pt x="243" y="106"/>
                    <a:pt x="296" y="133"/>
                    <a:pt x="270" y="159"/>
                  </a:cubicBezTo>
                  <a:cubicBezTo>
                    <a:pt x="209" y="220"/>
                    <a:pt x="248" y="152"/>
                    <a:pt x="195" y="144"/>
                  </a:cubicBezTo>
                  <a:cubicBezTo>
                    <a:pt x="171" y="144"/>
                    <a:pt x="170" y="198"/>
                    <a:pt x="143" y="204"/>
                  </a:cubicBezTo>
                  <a:cubicBezTo>
                    <a:pt x="116" y="210"/>
                    <a:pt x="54" y="186"/>
                    <a:pt x="30" y="18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pPr marL="0" marR="0" lvl="0" indent="0" defTabSz="914400" eaLnBrk="0" fontAlgn="base" latinLnBrk="0" hangingPunct="0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>
                  <a:srgbClr val="3C58A1"/>
                </a:buClr>
                <a:buSzPct val="80000"/>
                <a:buFont typeface="Wingdings" pitchFamily="2" charset="2"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lavika" panose="02000000000000000000"/>
              </a:endParaRPr>
            </a:p>
          </p:txBody>
        </p:sp>
        <p:sp>
          <p:nvSpPr>
            <p:cNvPr id="1047" name="Freeform 7">
              <a:extLst>
                <a:ext uri="{FF2B5EF4-FFF2-40B4-BE49-F238E27FC236}">
                  <a16:creationId xmlns:a16="http://schemas.microsoft.com/office/drawing/2014/main" id="{26ECB204-2392-CB61-CE3C-EA0C41FE95C2}"/>
                </a:ext>
              </a:extLst>
            </p:cNvPr>
            <p:cNvSpPr>
              <a:spLocks/>
            </p:cNvSpPr>
            <p:nvPr/>
          </p:nvSpPr>
          <p:spPr bwMode="auto">
            <a:xfrm flipV="1">
              <a:off x="1177" y="1394"/>
              <a:ext cx="1922" cy="2314"/>
            </a:xfrm>
            <a:custGeom>
              <a:avLst/>
              <a:gdLst>
                <a:gd name="T0" fmla="*/ 26 w 2087"/>
                <a:gd name="T1" fmla="*/ 206 h 2502"/>
                <a:gd name="T2" fmla="*/ 483 w 2087"/>
                <a:gd name="T3" fmla="*/ 1175 h 2502"/>
                <a:gd name="T4" fmla="*/ 1412 w 2087"/>
                <a:gd name="T5" fmla="*/ 2002 h 2502"/>
                <a:gd name="T6" fmla="*/ 1495 w 2087"/>
                <a:gd name="T7" fmla="*/ 1926 h 2502"/>
                <a:gd name="T8" fmla="*/ 1571 w 2087"/>
                <a:gd name="T9" fmla="*/ 1939 h 2502"/>
                <a:gd name="T10" fmla="*/ 1635 w 2087"/>
                <a:gd name="T11" fmla="*/ 1874 h 2502"/>
                <a:gd name="T12" fmla="*/ 1743 w 2087"/>
                <a:gd name="T13" fmla="*/ 1861 h 2502"/>
                <a:gd name="T14" fmla="*/ 1736 w 2087"/>
                <a:gd name="T15" fmla="*/ 1816 h 2502"/>
                <a:gd name="T16" fmla="*/ 375 w 2087"/>
                <a:gd name="T17" fmla="*/ 232 h 2502"/>
                <a:gd name="T18" fmla="*/ 324 w 2087"/>
                <a:gd name="T19" fmla="*/ 58 h 2502"/>
                <a:gd name="T20" fmla="*/ 274 w 2087"/>
                <a:gd name="T21" fmla="*/ 97 h 2502"/>
                <a:gd name="T22" fmla="*/ 248 w 2087"/>
                <a:gd name="T23" fmla="*/ 104 h 2502"/>
                <a:gd name="T24" fmla="*/ 166 w 2087"/>
                <a:gd name="T25" fmla="*/ 65 h 2502"/>
                <a:gd name="T26" fmla="*/ 127 w 2087"/>
                <a:gd name="T27" fmla="*/ 148 h 2502"/>
                <a:gd name="T28" fmla="*/ 44 w 2087"/>
                <a:gd name="T29" fmla="*/ 174 h 2502"/>
                <a:gd name="T30" fmla="*/ 26 w 2087"/>
                <a:gd name="T31" fmla="*/ 206 h 2502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2087"/>
                <a:gd name="T49" fmla="*/ 0 h 2502"/>
                <a:gd name="T50" fmla="*/ 2087 w 2087"/>
                <a:gd name="T51" fmla="*/ 2502 h 2502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2087" h="2502">
                  <a:moveTo>
                    <a:pt x="30" y="241"/>
                  </a:moveTo>
                  <a:cubicBezTo>
                    <a:pt x="0" y="421"/>
                    <a:pt x="297" y="1023"/>
                    <a:pt x="570" y="1373"/>
                  </a:cubicBezTo>
                  <a:cubicBezTo>
                    <a:pt x="843" y="1723"/>
                    <a:pt x="1466" y="2195"/>
                    <a:pt x="1665" y="2341"/>
                  </a:cubicBezTo>
                  <a:cubicBezTo>
                    <a:pt x="1878" y="2502"/>
                    <a:pt x="1702" y="2271"/>
                    <a:pt x="1762" y="2251"/>
                  </a:cubicBezTo>
                  <a:cubicBezTo>
                    <a:pt x="1793" y="2239"/>
                    <a:pt x="1825" y="2276"/>
                    <a:pt x="1852" y="2266"/>
                  </a:cubicBezTo>
                  <a:cubicBezTo>
                    <a:pt x="1879" y="2256"/>
                    <a:pt x="1893" y="2206"/>
                    <a:pt x="1927" y="2191"/>
                  </a:cubicBezTo>
                  <a:cubicBezTo>
                    <a:pt x="1943" y="2182"/>
                    <a:pt x="2055" y="2176"/>
                    <a:pt x="2055" y="2176"/>
                  </a:cubicBezTo>
                  <a:cubicBezTo>
                    <a:pt x="2066" y="2141"/>
                    <a:pt x="2087" y="2137"/>
                    <a:pt x="2047" y="2123"/>
                  </a:cubicBezTo>
                  <a:cubicBezTo>
                    <a:pt x="1778" y="1806"/>
                    <a:pt x="682" y="1298"/>
                    <a:pt x="442" y="271"/>
                  </a:cubicBezTo>
                  <a:cubicBezTo>
                    <a:pt x="427" y="204"/>
                    <a:pt x="420" y="126"/>
                    <a:pt x="382" y="68"/>
                  </a:cubicBezTo>
                  <a:cubicBezTo>
                    <a:pt x="360" y="0"/>
                    <a:pt x="330" y="97"/>
                    <a:pt x="322" y="113"/>
                  </a:cubicBezTo>
                  <a:cubicBezTo>
                    <a:pt x="317" y="122"/>
                    <a:pt x="302" y="118"/>
                    <a:pt x="292" y="121"/>
                  </a:cubicBezTo>
                  <a:cubicBezTo>
                    <a:pt x="261" y="105"/>
                    <a:pt x="228" y="87"/>
                    <a:pt x="195" y="76"/>
                  </a:cubicBezTo>
                  <a:cubicBezTo>
                    <a:pt x="175" y="106"/>
                    <a:pt x="176" y="147"/>
                    <a:pt x="150" y="173"/>
                  </a:cubicBezTo>
                  <a:cubicBezTo>
                    <a:pt x="89" y="234"/>
                    <a:pt x="156" y="151"/>
                    <a:pt x="52" y="203"/>
                  </a:cubicBezTo>
                  <a:cubicBezTo>
                    <a:pt x="39" y="210"/>
                    <a:pt x="37" y="228"/>
                    <a:pt x="30" y="24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pPr marL="0" marR="0" lvl="0" indent="0" defTabSz="914400" eaLnBrk="0" fontAlgn="base" latinLnBrk="0" hangingPunct="0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>
                  <a:srgbClr val="3C58A1"/>
                </a:buClr>
                <a:buSzPct val="80000"/>
                <a:buFont typeface="Wingdings" pitchFamily="2" charset="2"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lavika" panose="02000000000000000000"/>
              </a:endParaRPr>
            </a:p>
          </p:txBody>
        </p:sp>
      </p:grpSp>
      <p:grpSp>
        <p:nvGrpSpPr>
          <p:cNvPr id="1048" name="Group 5">
            <a:extLst>
              <a:ext uri="{FF2B5EF4-FFF2-40B4-BE49-F238E27FC236}">
                <a16:creationId xmlns:a16="http://schemas.microsoft.com/office/drawing/2014/main" id="{A6FD342F-42B9-7656-F609-E373FA613EBD}"/>
              </a:ext>
            </a:extLst>
          </p:cNvPr>
          <p:cNvGrpSpPr>
            <a:grpSpLocks noChangeAspect="1"/>
          </p:cNvGrpSpPr>
          <p:nvPr>
            <p:custDataLst>
              <p:tags r:id="rId6"/>
            </p:custDataLst>
          </p:nvPr>
        </p:nvGrpSpPr>
        <p:grpSpPr bwMode="auto">
          <a:xfrm>
            <a:off x="4050806" y="2875847"/>
            <a:ext cx="258351" cy="270328"/>
            <a:chOff x="1117" y="1342"/>
            <a:chExt cx="2260" cy="2366"/>
          </a:xfrm>
          <a:solidFill>
            <a:srgbClr val="FF0000"/>
          </a:solidFill>
        </p:grpSpPr>
        <p:sp>
          <p:nvSpPr>
            <p:cNvPr id="1049" name="Freeform 6">
              <a:extLst>
                <a:ext uri="{FF2B5EF4-FFF2-40B4-BE49-F238E27FC236}">
                  <a16:creationId xmlns:a16="http://schemas.microsoft.com/office/drawing/2014/main" id="{339FF7D4-1840-832F-57F8-0568B863B3E3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7" y="1342"/>
              <a:ext cx="2260" cy="2315"/>
            </a:xfrm>
            <a:custGeom>
              <a:avLst/>
              <a:gdLst>
                <a:gd name="T0" fmla="*/ 30 w 2260"/>
                <a:gd name="T1" fmla="*/ 181 h 2315"/>
                <a:gd name="T2" fmla="*/ 743 w 2260"/>
                <a:gd name="T3" fmla="*/ 1186 h 2315"/>
                <a:gd name="T4" fmla="*/ 1838 w 2260"/>
                <a:gd name="T5" fmla="*/ 2154 h 2315"/>
                <a:gd name="T6" fmla="*/ 1935 w 2260"/>
                <a:gd name="T7" fmla="*/ 2064 h 2315"/>
                <a:gd name="T8" fmla="*/ 2025 w 2260"/>
                <a:gd name="T9" fmla="*/ 2079 h 2315"/>
                <a:gd name="T10" fmla="*/ 2100 w 2260"/>
                <a:gd name="T11" fmla="*/ 2004 h 2315"/>
                <a:gd name="T12" fmla="*/ 2228 w 2260"/>
                <a:gd name="T13" fmla="*/ 1989 h 2315"/>
                <a:gd name="T14" fmla="*/ 2220 w 2260"/>
                <a:gd name="T15" fmla="*/ 1936 h 2315"/>
                <a:gd name="T16" fmla="*/ 1125 w 2260"/>
                <a:gd name="T17" fmla="*/ 1044 h 2315"/>
                <a:gd name="T18" fmla="*/ 540 w 2260"/>
                <a:gd name="T19" fmla="*/ 346 h 2315"/>
                <a:gd name="T20" fmla="*/ 360 w 2260"/>
                <a:gd name="T21" fmla="*/ 24 h 2315"/>
                <a:gd name="T22" fmla="*/ 315 w 2260"/>
                <a:gd name="T23" fmla="*/ 16 h 2315"/>
                <a:gd name="T24" fmla="*/ 263 w 2260"/>
                <a:gd name="T25" fmla="*/ 76 h 2315"/>
                <a:gd name="T26" fmla="*/ 270 w 2260"/>
                <a:gd name="T27" fmla="*/ 159 h 2315"/>
                <a:gd name="T28" fmla="*/ 195 w 2260"/>
                <a:gd name="T29" fmla="*/ 144 h 2315"/>
                <a:gd name="T30" fmla="*/ 143 w 2260"/>
                <a:gd name="T31" fmla="*/ 204 h 2315"/>
                <a:gd name="T32" fmla="*/ 30 w 2260"/>
                <a:gd name="T33" fmla="*/ 181 h 2315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w 2260"/>
                <a:gd name="T52" fmla="*/ 0 h 2315"/>
                <a:gd name="T53" fmla="*/ 2260 w 2260"/>
                <a:gd name="T54" fmla="*/ 2315 h 2315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T51" t="T52" r="T53" b="T54"/>
              <a:pathLst>
                <a:path w="2260" h="2315">
                  <a:moveTo>
                    <a:pt x="30" y="181"/>
                  </a:moveTo>
                  <a:cubicBezTo>
                    <a:pt x="0" y="361"/>
                    <a:pt x="442" y="857"/>
                    <a:pt x="743" y="1186"/>
                  </a:cubicBezTo>
                  <a:cubicBezTo>
                    <a:pt x="1044" y="1515"/>
                    <a:pt x="1639" y="2008"/>
                    <a:pt x="1838" y="2154"/>
                  </a:cubicBezTo>
                  <a:cubicBezTo>
                    <a:pt x="2051" y="2315"/>
                    <a:pt x="1875" y="2084"/>
                    <a:pt x="1935" y="2064"/>
                  </a:cubicBezTo>
                  <a:cubicBezTo>
                    <a:pt x="1966" y="2052"/>
                    <a:pt x="1998" y="2089"/>
                    <a:pt x="2025" y="2079"/>
                  </a:cubicBezTo>
                  <a:cubicBezTo>
                    <a:pt x="2052" y="2069"/>
                    <a:pt x="2066" y="2019"/>
                    <a:pt x="2100" y="2004"/>
                  </a:cubicBezTo>
                  <a:cubicBezTo>
                    <a:pt x="2116" y="1995"/>
                    <a:pt x="2228" y="1989"/>
                    <a:pt x="2228" y="1989"/>
                  </a:cubicBezTo>
                  <a:cubicBezTo>
                    <a:pt x="2239" y="1954"/>
                    <a:pt x="2260" y="1950"/>
                    <a:pt x="2220" y="1936"/>
                  </a:cubicBezTo>
                  <a:cubicBezTo>
                    <a:pt x="2010" y="1745"/>
                    <a:pt x="1404" y="1343"/>
                    <a:pt x="1125" y="1044"/>
                  </a:cubicBezTo>
                  <a:cubicBezTo>
                    <a:pt x="845" y="779"/>
                    <a:pt x="639" y="464"/>
                    <a:pt x="540" y="346"/>
                  </a:cubicBezTo>
                  <a:cubicBezTo>
                    <a:pt x="413" y="176"/>
                    <a:pt x="390" y="50"/>
                    <a:pt x="360" y="24"/>
                  </a:cubicBezTo>
                  <a:cubicBezTo>
                    <a:pt x="355" y="33"/>
                    <a:pt x="325" y="13"/>
                    <a:pt x="315" y="16"/>
                  </a:cubicBezTo>
                  <a:cubicBezTo>
                    <a:pt x="284" y="0"/>
                    <a:pt x="296" y="87"/>
                    <a:pt x="263" y="76"/>
                  </a:cubicBezTo>
                  <a:cubicBezTo>
                    <a:pt x="243" y="106"/>
                    <a:pt x="296" y="133"/>
                    <a:pt x="270" y="159"/>
                  </a:cubicBezTo>
                  <a:cubicBezTo>
                    <a:pt x="209" y="220"/>
                    <a:pt x="248" y="152"/>
                    <a:pt x="195" y="144"/>
                  </a:cubicBezTo>
                  <a:cubicBezTo>
                    <a:pt x="171" y="144"/>
                    <a:pt x="170" y="198"/>
                    <a:pt x="143" y="204"/>
                  </a:cubicBezTo>
                  <a:cubicBezTo>
                    <a:pt x="116" y="210"/>
                    <a:pt x="54" y="186"/>
                    <a:pt x="30" y="18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pPr marL="0" marR="0" lvl="0" indent="0" defTabSz="914400" eaLnBrk="0" fontAlgn="base" latinLnBrk="0" hangingPunct="0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>
                  <a:srgbClr val="3C58A1"/>
                </a:buClr>
                <a:buSzPct val="80000"/>
                <a:buFont typeface="Wingdings" pitchFamily="2" charset="2"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lavika" panose="02000000000000000000"/>
              </a:endParaRPr>
            </a:p>
          </p:txBody>
        </p:sp>
        <p:sp>
          <p:nvSpPr>
            <p:cNvPr id="1050" name="Freeform 7">
              <a:extLst>
                <a:ext uri="{FF2B5EF4-FFF2-40B4-BE49-F238E27FC236}">
                  <a16:creationId xmlns:a16="http://schemas.microsoft.com/office/drawing/2014/main" id="{0846821C-46C5-2483-65AA-1A3A350706B1}"/>
                </a:ext>
              </a:extLst>
            </p:cNvPr>
            <p:cNvSpPr>
              <a:spLocks/>
            </p:cNvSpPr>
            <p:nvPr/>
          </p:nvSpPr>
          <p:spPr bwMode="auto">
            <a:xfrm flipV="1">
              <a:off x="1177" y="1394"/>
              <a:ext cx="1922" cy="2314"/>
            </a:xfrm>
            <a:custGeom>
              <a:avLst/>
              <a:gdLst>
                <a:gd name="T0" fmla="*/ 26 w 2087"/>
                <a:gd name="T1" fmla="*/ 206 h 2502"/>
                <a:gd name="T2" fmla="*/ 483 w 2087"/>
                <a:gd name="T3" fmla="*/ 1175 h 2502"/>
                <a:gd name="T4" fmla="*/ 1412 w 2087"/>
                <a:gd name="T5" fmla="*/ 2002 h 2502"/>
                <a:gd name="T6" fmla="*/ 1495 w 2087"/>
                <a:gd name="T7" fmla="*/ 1926 h 2502"/>
                <a:gd name="T8" fmla="*/ 1571 w 2087"/>
                <a:gd name="T9" fmla="*/ 1939 h 2502"/>
                <a:gd name="T10" fmla="*/ 1635 w 2087"/>
                <a:gd name="T11" fmla="*/ 1874 h 2502"/>
                <a:gd name="T12" fmla="*/ 1743 w 2087"/>
                <a:gd name="T13" fmla="*/ 1861 h 2502"/>
                <a:gd name="T14" fmla="*/ 1736 w 2087"/>
                <a:gd name="T15" fmla="*/ 1816 h 2502"/>
                <a:gd name="T16" fmla="*/ 375 w 2087"/>
                <a:gd name="T17" fmla="*/ 232 h 2502"/>
                <a:gd name="T18" fmla="*/ 324 w 2087"/>
                <a:gd name="T19" fmla="*/ 58 h 2502"/>
                <a:gd name="T20" fmla="*/ 274 w 2087"/>
                <a:gd name="T21" fmla="*/ 97 h 2502"/>
                <a:gd name="T22" fmla="*/ 248 w 2087"/>
                <a:gd name="T23" fmla="*/ 104 h 2502"/>
                <a:gd name="T24" fmla="*/ 166 w 2087"/>
                <a:gd name="T25" fmla="*/ 65 h 2502"/>
                <a:gd name="T26" fmla="*/ 127 w 2087"/>
                <a:gd name="T27" fmla="*/ 148 h 2502"/>
                <a:gd name="T28" fmla="*/ 44 w 2087"/>
                <a:gd name="T29" fmla="*/ 174 h 2502"/>
                <a:gd name="T30" fmla="*/ 26 w 2087"/>
                <a:gd name="T31" fmla="*/ 206 h 2502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2087"/>
                <a:gd name="T49" fmla="*/ 0 h 2502"/>
                <a:gd name="T50" fmla="*/ 2087 w 2087"/>
                <a:gd name="T51" fmla="*/ 2502 h 2502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2087" h="2502">
                  <a:moveTo>
                    <a:pt x="30" y="241"/>
                  </a:moveTo>
                  <a:cubicBezTo>
                    <a:pt x="0" y="421"/>
                    <a:pt x="297" y="1023"/>
                    <a:pt x="570" y="1373"/>
                  </a:cubicBezTo>
                  <a:cubicBezTo>
                    <a:pt x="843" y="1723"/>
                    <a:pt x="1466" y="2195"/>
                    <a:pt x="1665" y="2341"/>
                  </a:cubicBezTo>
                  <a:cubicBezTo>
                    <a:pt x="1878" y="2502"/>
                    <a:pt x="1702" y="2271"/>
                    <a:pt x="1762" y="2251"/>
                  </a:cubicBezTo>
                  <a:cubicBezTo>
                    <a:pt x="1793" y="2239"/>
                    <a:pt x="1825" y="2276"/>
                    <a:pt x="1852" y="2266"/>
                  </a:cubicBezTo>
                  <a:cubicBezTo>
                    <a:pt x="1879" y="2256"/>
                    <a:pt x="1893" y="2206"/>
                    <a:pt x="1927" y="2191"/>
                  </a:cubicBezTo>
                  <a:cubicBezTo>
                    <a:pt x="1943" y="2182"/>
                    <a:pt x="2055" y="2176"/>
                    <a:pt x="2055" y="2176"/>
                  </a:cubicBezTo>
                  <a:cubicBezTo>
                    <a:pt x="2066" y="2141"/>
                    <a:pt x="2087" y="2137"/>
                    <a:pt x="2047" y="2123"/>
                  </a:cubicBezTo>
                  <a:cubicBezTo>
                    <a:pt x="1778" y="1806"/>
                    <a:pt x="682" y="1298"/>
                    <a:pt x="442" y="271"/>
                  </a:cubicBezTo>
                  <a:cubicBezTo>
                    <a:pt x="427" y="204"/>
                    <a:pt x="420" y="126"/>
                    <a:pt x="382" y="68"/>
                  </a:cubicBezTo>
                  <a:cubicBezTo>
                    <a:pt x="360" y="0"/>
                    <a:pt x="330" y="97"/>
                    <a:pt x="322" y="113"/>
                  </a:cubicBezTo>
                  <a:cubicBezTo>
                    <a:pt x="317" y="122"/>
                    <a:pt x="302" y="118"/>
                    <a:pt x="292" y="121"/>
                  </a:cubicBezTo>
                  <a:cubicBezTo>
                    <a:pt x="261" y="105"/>
                    <a:pt x="228" y="87"/>
                    <a:pt x="195" y="76"/>
                  </a:cubicBezTo>
                  <a:cubicBezTo>
                    <a:pt x="175" y="106"/>
                    <a:pt x="176" y="147"/>
                    <a:pt x="150" y="173"/>
                  </a:cubicBezTo>
                  <a:cubicBezTo>
                    <a:pt x="89" y="234"/>
                    <a:pt x="156" y="151"/>
                    <a:pt x="52" y="203"/>
                  </a:cubicBezTo>
                  <a:cubicBezTo>
                    <a:pt x="39" y="210"/>
                    <a:pt x="37" y="228"/>
                    <a:pt x="30" y="24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pPr marL="0" marR="0" lvl="0" indent="0" defTabSz="914400" eaLnBrk="0" fontAlgn="base" latinLnBrk="0" hangingPunct="0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>
                  <a:srgbClr val="3C58A1"/>
                </a:buClr>
                <a:buSzPct val="80000"/>
                <a:buFont typeface="Wingdings" pitchFamily="2" charset="2"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lavika" panose="02000000000000000000"/>
              </a:endParaRPr>
            </a:p>
          </p:txBody>
        </p:sp>
      </p:grpSp>
      <p:grpSp>
        <p:nvGrpSpPr>
          <p:cNvPr id="1051" name="Group 5">
            <a:extLst>
              <a:ext uri="{FF2B5EF4-FFF2-40B4-BE49-F238E27FC236}">
                <a16:creationId xmlns:a16="http://schemas.microsoft.com/office/drawing/2014/main" id="{80B358D3-7DF8-584D-3D34-F9770549733B}"/>
              </a:ext>
            </a:extLst>
          </p:cNvPr>
          <p:cNvGrpSpPr>
            <a:grpSpLocks noChangeAspect="1"/>
          </p:cNvGrpSpPr>
          <p:nvPr>
            <p:custDataLst>
              <p:tags r:id="rId7"/>
            </p:custDataLst>
          </p:nvPr>
        </p:nvGrpSpPr>
        <p:grpSpPr bwMode="auto">
          <a:xfrm>
            <a:off x="4050806" y="2638689"/>
            <a:ext cx="258351" cy="270328"/>
            <a:chOff x="1117" y="1342"/>
            <a:chExt cx="2260" cy="2366"/>
          </a:xfrm>
          <a:solidFill>
            <a:srgbClr val="FF0000"/>
          </a:solidFill>
        </p:grpSpPr>
        <p:sp>
          <p:nvSpPr>
            <p:cNvPr id="1052" name="Freeform 6">
              <a:extLst>
                <a:ext uri="{FF2B5EF4-FFF2-40B4-BE49-F238E27FC236}">
                  <a16:creationId xmlns:a16="http://schemas.microsoft.com/office/drawing/2014/main" id="{AD4F1C04-A978-9F3A-BAB5-07A17ED4DA2C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7" y="1342"/>
              <a:ext cx="2260" cy="2315"/>
            </a:xfrm>
            <a:custGeom>
              <a:avLst/>
              <a:gdLst>
                <a:gd name="T0" fmla="*/ 30 w 2260"/>
                <a:gd name="T1" fmla="*/ 181 h 2315"/>
                <a:gd name="T2" fmla="*/ 743 w 2260"/>
                <a:gd name="T3" fmla="*/ 1186 h 2315"/>
                <a:gd name="T4" fmla="*/ 1838 w 2260"/>
                <a:gd name="T5" fmla="*/ 2154 h 2315"/>
                <a:gd name="T6" fmla="*/ 1935 w 2260"/>
                <a:gd name="T7" fmla="*/ 2064 h 2315"/>
                <a:gd name="T8" fmla="*/ 2025 w 2260"/>
                <a:gd name="T9" fmla="*/ 2079 h 2315"/>
                <a:gd name="T10" fmla="*/ 2100 w 2260"/>
                <a:gd name="T11" fmla="*/ 2004 h 2315"/>
                <a:gd name="T12" fmla="*/ 2228 w 2260"/>
                <a:gd name="T13" fmla="*/ 1989 h 2315"/>
                <a:gd name="T14" fmla="*/ 2220 w 2260"/>
                <a:gd name="T15" fmla="*/ 1936 h 2315"/>
                <a:gd name="T16" fmla="*/ 1125 w 2260"/>
                <a:gd name="T17" fmla="*/ 1044 h 2315"/>
                <a:gd name="T18" fmla="*/ 540 w 2260"/>
                <a:gd name="T19" fmla="*/ 346 h 2315"/>
                <a:gd name="T20" fmla="*/ 360 w 2260"/>
                <a:gd name="T21" fmla="*/ 24 h 2315"/>
                <a:gd name="T22" fmla="*/ 315 w 2260"/>
                <a:gd name="T23" fmla="*/ 16 h 2315"/>
                <a:gd name="T24" fmla="*/ 263 w 2260"/>
                <a:gd name="T25" fmla="*/ 76 h 2315"/>
                <a:gd name="T26" fmla="*/ 270 w 2260"/>
                <a:gd name="T27" fmla="*/ 159 h 2315"/>
                <a:gd name="T28" fmla="*/ 195 w 2260"/>
                <a:gd name="T29" fmla="*/ 144 h 2315"/>
                <a:gd name="T30" fmla="*/ 143 w 2260"/>
                <a:gd name="T31" fmla="*/ 204 h 2315"/>
                <a:gd name="T32" fmla="*/ 30 w 2260"/>
                <a:gd name="T33" fmla="*/ 181 h 2315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w 2260"/>
                <a:gd name="T52" fmla="*/ 0 h 2315"/>
                <a:gd name="T53" fmla="*/ 2260 w 2260"/>
                <a:gd name="T54" fmla="*/ 2315 h 2315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T51" t="T52" r="T53" b="T54"/>
              <a:pathLst>
                <a:path w="2260" h="2315">
                  <a:moveTo>
                    <a:pt x="30" y="181"/>
                  </a:moveTo>
                  <a:cubicBezTo>
                    <a:pt x="0" y="361"/>
                    <a:pt x="442" y="857"/>
                    <a:pt x="743" y="1186"/>
                  </a:cubicBezTo>
                  <a:cubicBezTo>
                    <a:pt x="1044" y="1515"/>
                    <a:pt x="1639" y="2008"/>
                    <a:pt x="1838" y="2154"/>
                  </a:cubicBezTo>
                  <a:cubicBezTo>
                    <a:pt x="2051" y="2315"/>
                    <a:pt x="1875" y="2084"/>
                    <a:pt x="1935" y="2064"/>
                  </a:cubicBezTo>
                  <a:cubicBezTo>
                    <a:pt x="1966" y="2052"/>
                    <a:pt x="1998" y="2089"/>
                    <a:pt x="2025" y="2079"/>
                  </a:cubicBezTo>
                  <a:cubicBezTo>
                    <a:pt x="2052" y="2069"/>
                    <a:pt x="2066" y="2019"/>
                    <a:pt x="2100" y="2004"/>
                  </a:cubicBezTo>
                  <a:cubicBezTo>
                    <a:pt x="2116" y="1995"/>
                    <a:pt x="2228" y="1989"/>
                    <a:pt x="2228" y="1989"/>
                  </a:cubicBezTo>
                  <a:cubicBezTo>
                    <a:pt x="2239" y="1954"/>
                    <a:pt x="2260" y="1950"/>
                    <a:pt x="2220" y="1936"/>
                  </a:cubicBezTo>
                  <a:cubicBezTo>
                    <a:pt x="2010" y="1745"/>
                    <a:pt x="1404" y="1343"/>
                    <a:pt x="1125" y="1044"/>
                  </a:cubicBezTo>
                  <a:cubicBezTo>
                    <a:pt x="845" y="779"/>
                    <a:pt x="639" y="464"/>
                    <a:pt x="540" y="346"/>
                  </a:cubicBezTo>
                  <a:cubicBezTo>
                    <a:pt x="413" y="176"/>
                    <a:pt x="390" y="50"/>
                    <a:pt x="360" y="24"/>
                  </a:cubicBezTo>
                  <a:cubicBezTo>
                    <a:pt x="355" y="33"/>
                    <a:pt x="325" y="13"/>
                    <a:pt x="315" y="16"/>
                  </a:cubicBezTo>
                  <a:cubicBezTo>
                    <a:pt x="284" y="0"/>
                    <a:pt x="296" y="87"/>
                    <a:pt x="263" y="76"/>
                  </a:cubicBezTo>
                  <a:cubicBezTo>
                    <a:pt x="243" y="106"/>
                    <a:pt x="296" y="133"/>
                    <a:pt x="270" y="159"/>
                  </a:cubicBezTo>
                  <a:cubicBezTo>
                    <a:pt x="209" y="220"/>
                    <a:pt x="248" y="152"/>
                    <a:pt x="195" y="144"/>
                  </a:cubicBezTo>
                  <a:cubicBezTo>
                    <a:pt x="171" y="144"/>
                    <a:pt x="170" y="198"/>
                    <a:pt x="143" y="204"/>
                  </a:cubicBezTo>
                  <a:cubicBezTo>
                    <a:pt x="116" y="210"/>
                    <a:pt x="54" y="186"/>
                    <a:pt x="30" y="18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pPr marL="0" marR="0" lvl="0" indent="0" defTabSz="914400" eaLnBrk="0" fontAlgn="base" latinLnBrk="0" hangingPunct="0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>
                  <a:srgbClr val="3C58A1"/>
                </a:buClr>
                <a:buSzPct val="80000"/>
                <a:buFont typeface="Wingdings" pitchFamily="2" charset="2"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lavika" panose="02000000000000000000"/>
              </a:endParaRPr>
            </a:p>
          </p:txBody>
        </p:sp>
        <p:sp>
          <p:nvSpPr>
            <p:cNvPr id="1053" name="Freeform 7">
              <a:extLst>
                <a:ext uri="{FF2B5EF4-FFF2-40B4-BE49-F238E27FC236}">
                  <a16:creationId xmlns:a16="http://schemas.microsoft.com/office/drawing/2014/main" id="{4B2EF65D-111F-EEE0-68DC-FFED1EE21C2D}"/>
                </a:ext>
              </a:extLst>
            </p:cNvPr>
            <p:cNvSpPr>
              <a:spLocks/>
            </p:cNvSpPr>
            <p:nvPr/>
          </p:nvSpPr>
          <p:spPr bwMode="auto">
            <a:xfrm flipV="1">
              <a:off x="1177" y="1394"/>
              <a:ext cx="1922" cy="2314"/>
            </a:xfrm>
            <a:custGeom>
              <a:avLst/>
              <a:gdLst>
                <a:gd name="T0" fmla="*/ 26 w 2087"/>
                <a:gd name="T1" fmla="*/ 206 h 2502"/>
                <a:gd name="T2" fmla="*/ 483 w 2087"/>
                <a:gd name="T3" fmla="*/ 1175 h 2502"/>
                <a:gd name="T4" fmla="*/ 1412 w 2087"/>
                <a:gd name="T5" fmla="*/ 2002 h 2502"/>
                <a:gd name="T6" fmla="*/ 1495 w 2087"/>
                <a:gd name="T7" fmla="*/ 1926 h 2502"/>
                <a:gd name="T8" fmla="*/ 1571 w 2087"/>
                <a:gd name="T9" fmla="*/ 1939 h 2502"/>
                <a:gd name="T10" fmla="*/ 1635 w 2087"/>
                <a:gd name="T11" fmla="*/ 1874 h 2502"/>
                <a:gd name="T12" fmla="*/ 1743 w 2087"/>
                <a:gd name="T13" fmla="*/ 1861 h 2502"/>
                <a:gd name="T14" fmla="*/ 1736 w 2087"/>
                <a:gd name="T15" fmla="*/ 1816 h 2502"/>
                <a:gd name="T16" fmla="*/ 375 w 2087"/>
                <a:gd name="T17" fmla="*/ 232 h 2502"/>
                <a:gd name="T18" fmla="*/ 324 w 2087"/>
                <a:gd name="T19" fmla="*/ 58 h 2502"/>
                <a:gd name="T20" fmla="*/ 274 w 2087"/>
                <a:gd name="T21" fmla="*/ 97 h 2502"/>
                <a:gd name="T22" fmla="*/ 248 w 2087"/>
                <a:gd name="T23" fmla="*/ 104 h 2502"/>
                <a:gd name="T24" fmla="*/ 166 w 2087"/>
                <a:gd name="T25" fmla="*/ 65 h 2502"/>
                <a:gd name="T26" fmla="*/ 127 w 2087"/>
                <a:gd name="T27" fmla="*/ 148 h 2502"/>
                <a:gd name="T28" fmla="*/ 44 w 2087"/>
                <a:gd name="T29" fmla="*/ 174 h 2502"/>
                <a:gd name="T30" fmla="*/ 26 w 2087"/>
                <a:gd name="T31" fmla="*/ 206 h 2502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2087"/>
                <a:gd name="T49" fmla="*/ 0 h 2502"/>
                <a:gd name="T50" fmla="*/ 2087 w 2087"/>
                <a:gd name="T51" fmla="*/ 2502 h 2502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2087" h="2502">
                  <a:moveTo>
                    <a:pt x="30" y="241"/>
                  </a:moveTo>
                  <a:cubicBezTo>
                    <a:pt x="0" y="421"/>
                    <a:pt x="297" y="1023"/>
                    <a:pt x="570" y="1373"/>
                  </a:cubicBezTo>
                  <a:cubicBezTo>
                    <a:pt x="843" y="1723"/>
                    <a:pt x="1466" y="2195"/>
                    <a:pt x="1665" y="2341"/>
                  </a:cubicBezTo>
                  <a:cubicBezTo>
                    <a:pt x="1878" y="2502"/>
                    <a:pt x="1702" y="2271"/>
                    <a:pt x="1762" y="2251"/>
                  </a:cubicBezTo>
                  <a:cubicBezTo>
                    <a:pt x="1793" y="2239"/>
                    <a:pt x="1825" y="2276"/>
                    <a:pt x="1852" y="2266"/>
                  </a:cubicBezTo>
                  <a:cubicBezTo>
                    <a:pt x="1879" y="2256"/>
                    <a:pt x="1893" y="2206"/>
                    <a:pt x="1927" y="2191"/>
                  </a:cubicBezTo>
                  <a:cubicBezTo>
                    <a:pt x="1943" y="2182"/>
                    <a:pt x="2055" y="2176"/>
                    <a:pt x="2055" y="2176"/>
                  </a:cubicBezTo>
                  <a:cubicBezTo>
                    <a:pt x="2066" y="2141"/>
                    <a:pt x="2087" y="2137"/>
                    <a:pt x="2047" y="2123"/>
                  </a:cubicBezTo>
                  <a:cubicBezTo>
                    <a:pt x="1778" y="1806"/>
                    <a:pt x="682" y="1298"/>
                    <a:pt x="442" y="271"/>
                  </a:cubicBezTo>
                  <a:cubicBezTo>
                    <a:pt x="427" y="204"/>
                    <a:pt x="420" y="126"/>
                    <a:pt x="382" y="68"/>
                  </a:cubicBezTo>
                  <a:cubicBezTo>
                    <a:pt x="360" y="0"/>
                    <a:pt x="330" y="97"/>
                    <a:pt x="322" y="113"/>
                  </a:cubicBezTo>
                  <a:cubicBezTo>
                    <a:pt x="317" y="122"/>
                    <a:pt x="302" y="118"/>
                    <a:pt x="292" y="121"/>
                  </a:cubicBezTo>
                  <a:cubicBezTo>
                    <a:pt x="261" y="105"/>
                    <a:pt x="228" y="87"/>
                    <a:pt x="195" y="76"/>
                  </a:cubicBezTo>
                  <a:cubicBezTo>
                    <a:pt x="175" y="106"/>
                    <a:pt x="176" y="147"/>
                    <a:pt x="150" y="173"/>
                  </a:cubicBezTo>
                  <a:cubicBezTo>
                    <a:pt x="89" y="234"/>
                    <a:pt x="156" y="151"/>
                    <a:pt x="52" y="203"/>
                  </a:cubicBezTo>
                  <a:cubicBezTo>
                    <a:pt x="39" y="210"/>
                    <a:pt x="37" y="228"/>
                    <a:pt x="30" y="24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pPr marL="0" marR="0" lvl="0" indent="0" defTabSz="914400" eaLnBrk="0" fontAlgn="base" latinLnBrk="0" hangingPunct="0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>
                  <a:srgbClr val="3C58A1"/>
                </a:buClr>
                <a:buSzPct val="80000"/>
                <a:buFont typeface="Wingdings" pitchFamily="2" charset="2"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lavika" panose="02000000000000000000"/>
              </a:endParaRPr>
            </a:p>
          </p:txBody>
        </p:sp>
      </p:grpSp>
      <p:sp>
        <p:nvSpPr>
          <p:cNvPr id="1057" name="Freeform 12">
            <a:extLst>
              <a:ext uri="{FF2B5EF4-FFF2-40B4-BE49-F238E27FC236}">
                <a16:creationId xmlns:a16="http://schemas.microsoft.com/office/drawing/2014/main" id="{B70B5FE8-3031-C4A0-8BCB-485B5D3F4F72}"/>
              </a:ext>
            </a:extLst>
          </p:cNvPr>
          <p:cNvSpPr>
            <a:spLocks noChangeAspect="1"/>
          </p:cNvSpPr>
          <p:nvPr>
            <p:custDataLst>
              <p:tags r:id="rId8"/>
            </p:custDataLst>
          </p:nvPr>
        </p:nvSpPr>
        <p:spPr bwMode="auto">
          <a:xfrm>
            <a:off x="4040277" y="3353133"/>
            <a:ext cx="279409" cy="264387"/>
          </a:xfrm>
          <a:custGeom>
            <a:avLst/>
            <a:gdLst>
              <a:gd name="T0" fmla="*/ 561 w 573"/>
              <a:gd name="T1" fmla="*/ 0 h 543"/>
              <a:gd name="T2" fmla="*/ 167 w 573"/>
              <a:gd name="T3" fmla="*/ 396 h 543"/>
              <a:gd name="T4" fmla="*/ 86 w 573"/>
              <a:gd name="T5" fmla="*/ 282 h 543"/>
              <a:gd name="T6" fmla="*/ 0 w 573"/>
              <a:gd name="T7" fmla="*/ 330 h 543"/>
              <a:gd name="T8" fmla="*/ 128 w 573"/>
              <a:gd name="T9" fmla="*/ 543 h 543"/>
              <a:gd name="T10" fmla="*/ 215 w 573"/>
              <a:gd name="T11" fmla="*/ 482 h 543"/>
              <a:gd name="T12" fmla="*/ 573 w 573"/>
              <a:gd name="T13" fmla="*/ 18 h 543"/>
              <a:gd name="T14" fmla="*/ 561 w 573"/>
              <a:gd name="T15" fmla="*/ 0 h 543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573"/>
              <a:gd name="T25" fmla="*/ 0 h 543"/>
              <a:gd name="T26" fmla="*/ 573 w 573"/>
              <a:gd name="T27" fmla="*/ 543 h 543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573" h="543">
                <a:moveTo>
                  <a:pt x="561" y="0"/>
                </a:moveTo>
                <a:cubicBezTo>
                  <a:pt x="350" y="120"/>
                  <a:pt x="212" y="317"/>
                  <a:pt x="167" y="396"/>
                </a:cubicBezTo>
                <a:cubicBezTo>
                  <a:pt x="132" y="318"/>
                  <a:pt x="110" y="290"/>
                  <a:pt x="86" y="282"/>
                </a:cubicBezTo>
                <a:cubicBezTo>
                  <a:pt x="32" y="285"/>
                  <a:pt x="9" y="321"/>
                  <a:pt x="0" y="330"/>
                </a:cubicBezTo>
                <a:cubicBezTo>
                  <a:pt x="62" y="348"/>
                  <a:pt x="119" y="504"/>
                  <a:pt x="128" y="543"/>
                </a:cubicBezTo>
                <a:cubicBezTo>
                  <a:pt x="171" y="512"/>
                  <a:pt x="215" y="482"/>
                  <a:pt x="215" y="482"/>
                </a:cubicBezTo>
                <a:cubicBezTo>
                  <a:pt x="251" y="405"/>
                  <a:pt x="359" y="200"/>
                  <a:pt x="573" y="18"/>
                </a:cubicBezTo>
                <a:cubicBezTo>
                  <a:pt x="573" y="18"/>
                  <a:pt x="567" y="9"/>
                  <a:pt x="561" y="0"/>
                </a:cubicBezTo>
                <a:close/>
              </a:path>
            </a:pathLst>
          </a:custGeom>
          <a:solidFill>
            <a:srgbClr val="2C973E"/>
          </a:solidFill>
          <a:ln w="3175">
            <a:noFill/>
            <a:prstDash val="dash"/>
            <a:round/>
            <a:headEnd/>
            <a:tailEnd/>
          </a:ln>
          <a:effectLst/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Klavika" panose="02000000000000000000"/>
            </a:endParaRPr>
          </a:p>
        </p:txBody>
      </p:sp>
      <p:sp>
        <p:nvSpPr>
          <p:cNvPr id="1058" name="Freeform 12">
            <a:extLst>
              <a:ext uri="{FF2B5EF4-FFF2-40B4-BE49-F238E27FC236}">
                <a16:creationId xmlns:a16="http://schemas.microsoft.com/office/drawing/2014/main" id="{A905A462-C5B7-9BB3-4497-1F4DD8B458C3}"/>
              </a:ext>
            </a:extLst>
          </p:cNvPr>
          <p:cNvSpPr>
            <a:spLocks noChangeAspect="1"/>
          </p:cNvSpPr>
          <p:nvPr>
            <p:custDataLst>
              <p:tags r:id="rId9"/>
            </p:custDataLst>
          </p:nvPr>
        </p:nvSpPr>
        <p:spPr bwMode="auto">
          <a:xfrm>
            <a:off x="4040277" y="3590291"/>
            <a:ext cx="279409" cy="264387"/>
          </a:xfrm>
          <a:custGeom>
            <a:avLst/>
            <a:gdLst>
              <a:gd name="T0" fmla="*/ 561 w 573"/>
              <a:gd name="T1" fmla="*/ 0 h 543"/>
              <a:gd name="T2" fmla="*/ 167 w 573"/>
              <a:gd name="T3" fmla="*/ 396 h 543"/>
              <a:gd name="T4" fmla="*/ 86 w 573"/>
              <a:gd name="T5" fmla="*/ 282 h 543"/>
              <a:gd name="T6" fmla="*/ 0 w 573"/>
              <a:gd name="T7" fmla="*/ 330 h 543"/>
              <a:gd name="T8" fmla="*/ 128 w 573"/>
              <a:gd name="T9" fmla="*/ 543 h 543"/>
              <a:gd name="T10" fmla="*/ 215 w 573"/>
              <a:gd name="T11" fmla="*/ 482 h 543"/>
              <a:gd name="T12" fmla="*/ 573 w 573"/>
              <a:gd name="T13" fmla="*/ 18 h 543"/>
              <a:gd name="T14" fmla="*/ 561 w 573"/>
              <a:gd name="T15" fmla="*/ 0 h 543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573"/>
              <a:gd name="T25" fmla="*/ 0 h 543"/>
              <a:gd name="T26" fmla="*/ 573 w 573"/>
              <a:gd name="T27" fmla="*/ 543 h 543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573" h="543">
                <a:moveTo>
                  <a:pt x="561" y="0"/>
                </a:moveTo>
                <a:cubicBezTo>
                  <a:pt x="350" y="120"/>
                  <a:pt x="212" y="317"/>
                  <a:pt x="167" y="396"/>
                </a:cubicBezTo>
                <a:cubicBezTo>
                  <a:pt x="132" y="318"/>
                  <a:pt x="110" y="290"/>
                  <a:pt x="86" y="282"/>
                </a:cubicBezTo>
                <a:cubicBezTo>
                  <a:pt x="32" y="285"/>
                  <a:pt x="9" y="321"/>
                  <a:pt x="0" y="330"/>
                </a:cubicBezTo>
                <a:cubicBezTo>
                  <a:pt x="62" y="348"/>
                  <a:pt x="119" y="504"/>
                  <a:pt x="128" y="543"/>
                </a:cubicBezTo>
                <a:cubicBezTo>
                  <a:pt x="171" y="512"/>
                  <a:pt x="215" y="482"/>
                  <a:pt x="215" y="482"/>
                </a:cubicBezTo>
                <a:cubicBezTo>
                  <a:pt x="251" y="405"/>
                  <a:pt x="359" y="200"/>
                  <a:pt x="573" y="18"/>
                </a:cubicBezTo>
                <a:cubicBezTo>
                  <a:pt x="573" y="18"/>
                  <a:pt x="567" y="9"/>
                  <a:pt x="561" y="0"/>
                </a:cubicBezTo>
                <a:close/>
              </a:path>
            </a:pathLst>
          </a:custGeom>
          <a:solidFill>
            <a:srgbClr val="2C973E"/>
          </a:solidFill>
          <a:ln w="3175">
            <a:noFill/>
            <a:prstDash val="dash"/>
            <a:round/>
            <a:headEnd/>
            <a:tailEnd/>
          </a:ln>
          <a:effectLst/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Klavika" panose="02000000000000000000"/>
            </a:endParaRPr>
          </a:p>
        </p:txBody>
      </p:sp>
      <p:sp>
        <p:nvSpPr>
          <p:cNvPr id="1059" name="Freeform 12">
            <a:extLst>
              <a:ext uri="{FF2B5EF4-FFF2-40B4-BE49-F238E27FC236}">
                <a16:creationId xmlns:a16="http://schemas.microsoft.com/office/drawing/2014/main" id="{D11262DE-DB0B-D75F-2CA9-62C298662EF3}"/>
              </a:ext>
            </a:extLst>
          </p:cNvPr>
          <p:cNvSpPr>
            <a:spLocks noChangeAspect="1"/>
          </p:cNvSpPr>
          <p:nvPr>
            <p:custDataLst>
              <p:tags r:id="rId10"/>
            </p:custDataLst>
          </p:nvPr>
        </p:nvSpPr>
        <p:spPr bwMode="auto">
          <a:xfrm>
            <a:off x="4040277" y="3827449"/>
            <a:ext cx="279409" cy="264387"/>
          </a:xfrm>
          <a:custGeom>
            <a:avLst/>
            <a:gdLst>
              <a:gd name="T0" fmla="*/ 561 w 573"/>
              <a:gd name="T1" fmla="*/ 0 h 543"/>
              <a:gd name="T2" fmla="*/ 167 w 573"/>
              <a:gd name="T3" fmla="*/ 396 h 543"/>
              <a:gd name="T4" fmla="*/ 86 w 573"/>
              <a:gd name="T5" fmla="*/ 282 h 543"/>
              <a:gd name="T6" fmla="*/ 0 w 573"/>
              <a:gd name="T7" fmla="*/ 330 h 543"/>
              <a:gd name="T8" fmla="*/ 128 w 573"/>
              <a:gd name="T9" fmla="*/ 543 h 543"/>
              <a:gd name="T10" fmla="*/ 215 w 573"/>
              <a:gd name="T11" fmla="*/ 482 h 543"/>
              <a:gd name="T12" fmla="*/ 573 w 573"/>
              <a:gd name="T13" fmla="*/ 18 h 543"/>
              <a:gd name="T14" fmla="*/ 561 w 573"/>
              <a:gd name="T15" fmla="*/ 0 h 543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573"/>
              <a:gd name="T25" fmla="*/ 0 h 543"/>
              <a:gd name="T26" fmla="*/ 573 w 573"/>
              <a:gd name="T27" fmla="*/ 543 h 543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573" h="543">
                <a:moveTo>
                  <a:pt x="561" y="0"/>
                </a:moveTo>
                <a:cubicBezTo>
                  <a:pt x="350" y="120"/>
                  <a:pt x="212" y="317"/>
                  <a:pt x="167" y="396"/>
                </a:cubicBezTo>
                <a:cubicBezTo>
                  <a:pt x="132" y="318"/>
                  <a:pt x="110" y="290"/>
                  <a:pt x="86" y="282"/>
                </a:cubicBezTo>
                <a:cubicBezTo>
                  <a:pt x="32" y="285"/>
                  <a:pt x="9" y="321"/>
                  <a:pt x="0" y="330"/>
                </a:cubicBezTo>
                <a:cubicBezTo>
                  <a:pt x="62" y="348"/>
                  <a:pt x="119" y="504"/>
                  <a:pt x="128" y="543"/>
                </a:cubicBezTo>
                <a:cubicBezTo>
                  <a:pt x="171" y="512"/>
                  <a:pt x="215" y="482"/>
                  <a:pt x="215" y="482"/>
                </a:cubicBezTo>
                <a:cubicBezTo>
                  <a:pt x="251" y="405"/>
                  <a:pt x="359" y="200"/>
                  <a:pt x="573" y="18"/>
                </a:cubicBezTo>
                <a:cubicBezTo>
                  <a:pt x="573" y="18"/>
                  <a:pt x="567" y="9"/>
                  <a:pt x="561" y="0"/>
                </a:cubicBezTo>
                <a:close/>
              </a:path>
            </a:pathLst>
          </a:custGeom>
          <a:solidFill>
            <a:srgbClr val="2C973E"/>
          </a:solidFill>
          <a:ln w="3175">
            <a:noFill/>
            <a:prstDash val="dash"/>
            <a:round/>
            <a:headEnd/>
            <a:tailEnd/>
          </a:ln>
          <a:effectLst/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Klavika" panose="02000000000000000000"/>
            </a:endParaRPr>
          </a:p>
        </p:txBody>
      </p:sp>
      <p:sp>
        <p:nvSpPr>
          <p:cNvPr id="1060" name="Freeform 12">
            <a:extLst>
              <a:ext uri="{FF2B5EF4-FFF2-40B4-BE49-F238E27FC236}">
                <a16:creationId xmlns:a16="http://schemas.microsoft.com/office/drawing/2014/main" id="{64336288-5E9F-83F8-7DFF-5A9639B60ED9}"/>
              </a:ext>
            </a:extLst>
          </p:cNvPr>
          <p:cNvSpPr>
            <a:spLocks noChangeAspect="1"/>
          </p:cNvSpPr>
          <p:nvPr>
            <p:custDataLst>
              <p:tags r:id="rId11"/>
            </p:custDataLst>
          </p:nvPr>
        </p:nvSpPr>
        <p:spPr bwMode="auto">
          <a:xfrm>
            <a:off x="4040277" y="4064607"/>
            <a:ext cx="279409" cy="264387"/>
          </a:xfrm>
          <a:custGeom>
            <a:avLst/>
            <a:gdLst>
              <a:gd name="T0" fmla="*/ 561 w 573"/>
              <a:gd name="T1" fmla="*/ 0 h 543"/>
              <a:gd name="T2" fmla="*/ 167 w 573"/>
              <a:gd name="T3" fmla="*/ 396 h 543"/>
              <a:gd name="T4" fmla="*/ 86 w 573"/>
              <a:gd name="T5" fmla="*/ 282 h 543"/>
              <a:gd name="T6" fmla="*/ 0 w 573"/>
              <a:gd name="T7" fmla="*/ 330 h 543"/>
              <a:gd name="T8" fmla="*/ 128 w 573"/>
              <a:gd name="T9" fmla="*/ 543 h 543"/>
              <a:gd name="T10" fmla="*/ 215 w 573"/>
              <a:gd name="T11" fmla="*/ 482 h 543"/>
              <a:gd name="T12" fmla="*/ 573 w 573"/>
              <a:gd name="T13" fmla="*/ 18 h 543"/>
              <a:gd name="T14" fmla="*/ 561 w 573"/>
              <a:gd name="T15" fmla="*/ 0 h 543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573"/>
              <a:gd name="T25" fmla="*/ 0 h 543"/>
              <a:gd name="T26" fmla="*/ 573 w 573"/>
              <a:gd name="T27" fmla="*/ 543 h 543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573" h="543">
                <a:moveTo>
                  <a:pt x="561" y="0"/>
                </a:moveTo>
                <a:cubicBezTo>
                  <a:pt x="350" y="120"/>
                  <a:pt x="212" y="317"/>
                  <a:pt x="167" y="396"/>
                </a:cubicBezTo>
                <a:cubicBezTo>
                  <a:pt x="132" y="318"/>
                  <a:pt x="110" y="290"/>
                  <a:pt x="86" y="282"/>
                </a:cubicBezTo>
                <a:cubicBezTo>
                  <a:pt x="32" y="285"/>
                  <a:pt x="9" y="321"/>
                  <a:pt x="0" y="330"/>
                </a:cubicBezTo>
                <a:cubicBezTo>
                  <a:pt x="62" y="348"/>
                  <a:pt x="119" y="504"/>
                  <a:pt x="128" y="543"/>
                </a:cubicBezTo>
                <a:cubicBezTo>
                  <a:pt x="171" y="512"/>
                  <a:pt x="215" y="482"/>
                  <a:pt x="215" y="482"/>
                </a:cubicBezTo>
                <a:cubicBezTo>
                  <a:pt x="251" y="405"/>
                  <a:pt x="359" y="200"/>
                  <a:pt x="573" y="18"/>
                </a:cubicBezTo>
                <a:cubicBezTo>
                  <a:pt x="573" y="18"/>
                  <a:pt x="567" y="9"/>
                  <a:pt x="561" y="0"/>
                </a:cubicBezTo>
                <a:close/>
              </a:path>
            </a:pathLst>
          </a:custGeom>
          <a:solidFill>
            <a:srgbClr val="2C973E"/>
          </a:solidFill>
          <a:ln w="3175">
            <a:noFill/>
            <a:prstDash val="dash"/>
            <a:round/>
            <a:headEnd/>
            <a:tailEnd/>
          </a:ln>
          <a:effectLst/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Klavika" panose="02000000000000000000"/>
            </a:endParaRPr>
          </a:p>
        </p:txBody>
      </p:sp>
      <p:sp>
        <p:nvSpPr>
          <p:cNvPr id="1061" name="Freeform 12">
            <a:extLst>
              <a:ext uri="{FF2B5EF4-FFF2-40B4-BE49-F238E27FC236}">
                <a16:creationId xmlns:a16="http://schemas.microsoft.com/office/drawing/2014/main" id="{7AEAFDEA-67D8-7F54-2408-5CC94B20A20F}"/>
              </a:ext>
            </a:extLst>
          </p:cNvPr>
          <p:cNvSpPr>
            <a:spLocks noChangeAspect="1"/>
          </p:cNvSpPr>
          <p:nvPr>
            <p:custDataLst>
              <p:tags r:id="rId12"/>
            </p:custDataLst>
          </p:nvPr>
        </p:nvSpPr>
        <p:spPr bwMode="auto">
          <a:xfrm>
            <a:off x="4040277" y="4301765"/>
            <a:ext cx="279409" cy="264387"/>
          </a:xfrm>
          <a:custGeom>
            <a:avLst/>
            <a:gdLst>
              <a:gd name="T0" fmla="*/ 561 w 573"/>
              <a:gd name="T1" fmla="*/ 0 h 543"/>
              <a:gd name="T2" fmla="*/ 167 w 573"/>
              <a:gd name="T3" fmla="*/ 396 h 543"/>
              <a:gd name="T4" fmla="*/ 86 w 573"/>
              <a:gd name="T5" fmla="*/ 282 h 543"/>
              <a:gd name="T6" fmla="*/ 0 w 573"/>
              <a:gd name="T7" fmla="*/ 330 h 543"/>
              <a:gd name="T8" fmla="*/ 128 w 573"/>
              <a:gd name="T9" fmla="*/ 543 h 543"/>
              <a:gd name="T10" fmla="*/ 215 w 573"/>
              <a:gd name="T11" fmla="*/ 482 h 543"/>
              <a:gd name="T12" fmla="*/ 573 w 573"/>
              <a:gd name="T13" fmla="*/ 18 h 543"/>
              <a:gd name="T14" fmla="*/ 561 w 573"/>
              <a:gd name="T15" fmla="*/ 0 h 543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573"/>
              <a:gd name="T25" fmla="*/ 0 h 543"/>
              <a:gd name="T26" fmla="*/ 573 w 573"/>
              <a:gd name="T27" fmla="*/ 543 h 543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573" h="543">
                <a:moveTo>
                  <a:pt x="561" y="0"/>
                </a:moveTo>
                <a:cubicBezTo>
                  <a:pt x="350" y="120"/>
                  <a:pt x="212" y="317"/>
                  <a:pt x="167" y="396"/>
                </a:cubicBezTo>
                <a:cubicBezTo>
                  <a:pt x="132" y="318"/>
                  <a:pt x="110" y="290"/>
                  <a:pt x="86" y="282"/>
                </a:cubicBezTo>
                <a:cubicBezTo>
                  <a:pt x="32" y="285"/>
                  <a:pt x="9" y="321"/>
                  <a:pt x="0" y="330"/>
                </a:cubicBezTo>
                <a:cubicBezTo>
                  <a:pt x="62" y="348"/>
                  <a:pt x="119" y="504"/>
                  <a:pt x="128" y="543"/>
                </a:cubicBezTo>
                <a:cubicBezTo>
                  <a:pt x="171" y="512"/>
                  <a:pt x="215" y="482"/>
                  <a:pt x="215" y="482"/>
                </a:cubicBezTo>
                <a:cubicBezTo>
                  <a:pt x="251" y="405"/>
                  <a:pt x="359" y="200"/>
                  <a:pt x="573" y="18"/>
                </a:cubicBezTo>
                <a:cubicBezTo>
                  <a:pt x="573" y="18"/>
                  <a:pt x="567" y="9"/>
                  <a:pt x="561" y="0"/>
                </a:cubicBezTo>
                <a:close/>
              </a:path>
            </a:pathLst>
          </a:custGeom>
          <a:solidFill>
            <a:srgbClr val="2C973E"/>
          </a:solidFill>
          <a:ln w="3175">
            <a:noFill/>
            <a:prstDash val="dash"/>
            <a:round/>
            <a:headEnd/>
            <a:tailEnd/>
          </a:ln>
          <a:effectLst/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Klavika" panose="02000000000000000000"/>
            </a:endParaRPr>
          </a:p>
        </p:txBody>
      </p:sp>
      <p:sp>
        <p:nvSpPr>
          <p:cNvPr id="1062" name="Freeform 12">
            <a:extLst>
              <a:ext uri="{FF2B5EF4-FFF2-40B4-BE49-F238E27FC236}">
                <a16:creationId xmlns:a16="http://schemas.microsoft.com/office/drawing/2014/main" id="{5555AC9B-5F03-BC85-A8E8-A1B563C0124A}"/>
              </a:ext>
            </a:extLst>
          </p:cNvPr>
          <p:cNvSpPr>
            <a:spLocks noChangeAspect="1"/>
          </p:cNvSpPr>
          <p:nvPr>
            <p:custDataLst>
              <p:tags r:id="rId13"/>
            </p:custDataLst>
          </p:nvPr>
        </p:nvSpPr>
        <p:spPr bwMode="auto">
          <a:xfrm>
            <a:off x="4040277" y="4538923"/>
            <a:ext cx="279409" cy="264387"/>
          </a:xfrm>
          <a:custGeom>
            <a:avLst/>
            <a:gdLst>
              <a:gd name="T0" fmla="*/ 561 w 573"/>
              <a:gd name="T1" fmla="*/ 0 h 543"/>
              <a:gd name="T2" fmla="*/ 167 w 573"/>
              <a:gd name="T3" fmla="*/ 396 h 543"/>
              <a:gd name="T4" fmla="*/ 86 w 573"/>
              <a:gd name="T5" fmla="*/ 282 h 543"/>
              <a:gd name="T6" fmla="*/ 0 w 573"/>
              <a:gd name="T7" fmla="*/ 330 h 543"/>
              <a:gd name="T8" fmla="*/ 128 w 573"/>
              <a:gd name="T9" fmla="*/ 543 h 543"/>
              <a:gd name="T10" fmla="*/ 215 w 573"/>
              <a:gd name="T11" fmla="*/ 482 h 543"/>
              <a:gd name="T12" fmla="*/ 573 w 573"/>
              <a:gd name="T13" fmla="*/ 18 h 543"/>
              <a:gd name="T14" fmla="*/ 561 w 573"/>
              <a:gd name="T15" fmla="*/ 0 h 543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573"/>
              <a:gd name="T25" fmla="*/ 0 h 543"/>
              <a:gd name="T26" fmla="*/ 573 w 573"/>
              <a:gd name="T27" fmla="*/ 543 h 543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573" h="543">
                <a:moveTo>
                  <a:pt x="561" y="0"/>
                </a:moveTo>
                <a:cubicBezTo>
                  <a:pt x="350" y="120"/>
                  <a:pt x="212" y="317"/>
                  <a:pt x="167" y="396"/>
                </a:cubicBezTo>
                <a:cubicBezTo>
                  <a:pt x="132" y="318"/>
                  <a:pt x="110" y="290"/>
                  <a:pt x="86" y="282"/>
                </a:cubicBezTo>
                <a:cubicBezTo>
                  <a:pt x="32" y="285"/>
                  <a:pt x="9" y="321"/>
                  <a:pt x="0" y="330"/>
                </a:cubicBezTo>
                <a:cubicBezTo>
                  <a:pt x="62" y="348"/>
                  <a:pt x="119" y="504"/>
                  <a:pt x="128" y="543"/>
                </a:cubicBezTo>
                <a:cubicBezTo>
                  <a:pt x="171" y="512"/>
                  <a:pt x="215" y="482"/>
                  <a:pt x="215" y="482"/>
                </a:cubicBezTo>
                <a:cubicBezTo>
                  <a:pt x="251" y="405"/>
                  <a:pt x="359" y="200"/>
                  <a:pt x="573" y="18"/>
                </a:cubicBezTo>
                <a:cubicBezTo>
                  <a:pt x="573" y="18"/>
                  <a:pt x="567" y="9"/>
                  <a:pt x="561" y="0"/>
                </a:cubicBezTo>
                <a:close/>
              </a:path>
            </a:pathLst>
          </a:custGeom>
          <a:solidFill>
            <a:srgbClr val="2C973E"/>
          </a:solidFill>
          <a:ln w="3175">
            <a:noFill/>
            <a:prstDash val="dash"/>
            <a:round/>
            <a:headEnd/>
            <a:tailEnd/>
          </a:ln>
          <a:effectLst/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Klavika" panose="02000000000000000000"/>
            </a:endParaRPr>
          </a:p>
        </p:txBody>
      </p:sp>
      <p:sp>
        <p:nvSpPr>
          <p:cNvPr id="1063" name="Freeform 12">
            <a:extLst>
              <a:ext uri="{FF2B5EF4-FFF2-40B4-BE49-F238E27FC236}">
                <a16:creationId xmlns:a16="http://schemas.microsoft.com/office/drawing/2014/main" id="{5000AF14-4C16-BF3E-8C8C-D27F231FAC1C}"/>
              </a:ext>
            </a:extLst>
          </p:cNvPr>
          <p:cNvSpPr>
            <a:spLocks noChangeAspect="1"/>
          </p:cNvSpPr>
          <p:nvPr>
            <p:custDataLst>
              <p:tags r:id="rId14"/>
            </p:custDataLst>
          </p:nvPr>
        </p:nvSpPr>
        <p:spPr bwMode="auto">
          <a:xfrm>
            <a:off x="4040277" y="4776081"/>
            <a:ext cx="279409" cy="264387"/>
          </a:xfrm>
          <a:custGeom>
            <a:avLst/>
            <a:gdLst>
              <a:gd name="T0" fmla="*/ 561 w 573"/>
              <a:gd name="T1" fmla="*/ 0 h 543"/>
              <a:gd name="T2" fmla="*/ 167 w 573"/>
              <a:gd name="T3" fmla="*/ 396 h 543"/>
              <a:gd name="T4" fmla="*/ 86 w 573"/>
              <a:gd name="T5" fmla="*/ 282 h 543"/>
              <a:gd name="T6" fmla="*/ 0 w 573"/>
              <a:gd name="T7" fmla="*/ 330 h 543"/>
              <a:gd name="T8" fmla="*/ 128 w 573"/>
              <a:gd name="T9" fmla="*/ 543 h 543"/>
              <a:gd name="T10" fmla="*/ 215 w 573"/>
              <a:gd name="T11" fmla="*/ 482 h 543"/>
              <a:gd name="T12" fmla="*/ 573 w 573"/>
              <a:gd name="T13" fmla="*/ 18 h 543"/>
              <a:gd name="T14" fmla="*/ 561 w 573"/>
              <a:gd name="T15" fmla="*/ 0 h 543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573"/>
              <a:gd name="T25" fmla="*/ 0 h 543"/>
              <a:gd name="T26" fmla="*/ 573 w 573"/>
              <a:gd name="T27" fmla="*/ 543 h 543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573" h="543">
                <a:moveTo>
                  <a:pt x="561" y="0"/>
                </a:moveTo>
                <a:cubicBezTo>
                  <a:pt x="350" y="120"/>
                  <a:pt x="212" y="317"/>
                  <a:pt x="167" y="396"/>
                </a:cubicBezTo>
                <a:cubicBezTo>
                  <a:pt x="132" y="318"/>
                  <a:pt x="110" y="290"/>
                  <a:pt x="86" y="282"/>
                </a:cubicBezTo>
                <a:cubicBezTo>
                  <a:pt x="32" y="285"/>
                  <a:pt x="9" y="321"/>
                  <a:pt x="0" y="330"/>
                </a:cubicBezTo>
                <a:cubicBezTo>
                  <a:pt x="62" y="348"/>
                  <a:pt x="119" y="504"/>
                  <a:pt x="128" y="543"/>
                </a:cubicBezTo>
                <a:cubicBezTo>
                  <a:pt x="171" y="512"/>
                  <a:pt x="215" y="482"/>
                  <a:pt x="215" y="482"/>
                </a:cubicBezTo>
                <a:cubicBezTo>
                  <a:pt x="251" y="405"/>
                  <a:pt x="359" y="200"/>
                  <a:pt x="573" y="18"/>
                </a:cubicBezTo>
                <a:cubicBezTo>
                  <a:pt x="573" y="18"/>
                  <a:pt x="567" y="9"/>
                  <a:pt x="561" y="0"/>
                </a:cubicBezTo>
                <a:close/>
              </a:path>
            </a:pathLst>
          </a:custGeom>
          <a:solidFill>
            <a:srgbClr val="2C973E"/>
          </a:solidFill>
          <a:ln w="3175">
            <a:noFill/>
            <a:prstDash val="dash"/>
            <a:round/>
            <a:headEnd/>
            <a:tailEnd/>
          </a:ln>
          <a:effectLst/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Klavika" panose="02000000000000000000"/>
            </a:endParaRPr>
          </a:p>
        </p:txBody>
      </p:sp>
      <p:sp>
        <p:nvSpPr>
          <p:cNvPr id="1064" name="Freeform 12">
            <a:extLst>
              <a:ext uri="{FF2B5EF4-FFF2-40B4-BE49-F238E27FC236}">
                <a16:creationId xmlns:a16="http://schemas.microsoft.com/office/drawing/2014/main" id="{96C10A2D-656C-476A-5BC8-932DDD807535}"/>
              </a:ext>
            </a:extLst>
          </p:cNvPr>
          <p:cNvSpPr>
            <a:spLocks noChangeAspect="1"/>
          </p:cNvSpPr>
          <p:nvPr>
            <p:custDataLst>
              <p:tags r:id="rId15"/>
            </p:custDataLst>
          </p:nvPr>
        </p:nvSpPr>
        <p:spPr bwMode="auto">
          <a:xfrm>
            <a:off x="4040277" y="5013239"/>
            <a:ext cx="279409" cy="264387"/>
          </a:xfrm>
          <a:custGeom>
            <a:avLst/>
            <a:gdLst>
              <a:gd name="T0" fmla="*/ 561 w 573"/>
              <a:gd name="T1" fmla="*/ 0 h 543"/>
              <a:gd name="T2" fmla="*/ 167 w 573"/>
              <a:gd name="T3" fmla="*/ 396 h 543"/>
              <a:gd name="T4" fmla="*/ 86 w 573"/>
              <a:gd name="T5" fmla="*/ 282 h 543"/>
              <a:gd name="T6" fmla="*/ 0 w 573"/>
              <a:gd name="T7" fmla="*/ 330 h 543"/>
              <a:gd name="T8" fmla="*/ 128 w 573"/>
              <a:gd name="T9" fmla="*/ 543 h 543"/>
              <a:gd name="T10" fmla="*/ 215 w 573"/>
              <a:gd name="T11" fmla="*/ 482 h 543"/>
              <a:gd name="T12" fmla="*/ 573 w 573"/>
              <a:gd name="T13" fmla="*/ 18 h 543"/>
              <a:gd name="T14" fmla="*/ 561 w 573"/>
              <a:gd name="T15" fmla="*/ 0 h 543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573"/>
              <a:gd name="T25" fmla="*/ 0 h 543"/>
              <a:gd name="T26" fmla="*/ 573 w 573"/>
              <a:gd name="T27" fmla="*/ 543 h 543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573" h="543">
                <a:moveTo>
                  <a:pt x="561" y="0"/>
                </a:moveTo>
                <a:cubicBezTo>
                  <a:pt x="350" y="120"/>
                  <a:pt x="212" y="317"/>
                  <a:pt x="167" y="396"/>
                </a:cubicBezTo>
                <a:cubicBezTo>
                  <a:pt x="132" y="318"/>
                  <a:pt x="110" y="290"/>
                  <a:pt x="86" y="282"/>
                </a:cubicBezTo>
                <a:cubicBezTo>
                  <a:pt x="32" y="285"/>
                  <a:pt x="9" y="321"/>
                  <a:pt x="0" y="330"/>
                </a:cubicBezTo>
                <a:cubicBezTo>
                  <a:pt x="62" y="348"/>
                  <a:pt x="119" y="504"/>
                  <a:pt x="128" y="543"/>
                </a:cubicBezTo>
                <a:cubicBezTo>
                  <a:pt x="171" y="512"/>
                  <a:pt x="215" y="482"/>
                  <a:pt x="215" y="482"/>
                </a:cubicBezTo>
                <a:cubicBezTo>
                  <a:pt x="251" y="405"/>
                  <a:pt x="359" y="200"/>
                  <a:pt x="573" y="18"/>
                </a:cubicBezTo>
                <a:cubicBezTo>
                  <a:pt x="573" y="18"/>
                  <a:pt x="567" y="9"/>
                  <a:pt x="561" y="0"/>
                </a:cubicBezTo>
                <a:close/>
              </a:path>
            </a:pathLst>
          </a:custGeom>
          <a:solidFill>
            <a:srgbClr val="2C973E"/>
          </a:solidFill>
          <a:ln w="3175">
            <a:noFill/>
            <a:prstDash val="dash"/>
            <a:round/>
            <a:headEnd/>
            <a:tailEnd/>
          </a:ln>
          <a:effectLst/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Klavika" panose="02000000000000000000"/>
            </a:endParaRPr>
          </a:p>
        </p:txBody>
      </p:sp>
      <p:sp>
        <p:nvSpPr>
          <p:cNvPr id="1065" name="Freeform 12">
            <a:extLst>
              <a:ext uri="{FF2B5EF4-FFF2-40B4-BE49-F238E27FC236}">
                <a16:creationId xmlns:a16="http://schemas.microsoft.com/office/drawing/2014/main" id="{14C5D5F2-1D58-5329-87C7-5BCEE1E0105F}"/>
              </a:ext>
            </a:extLst>
          </p:cNvPr>
          <p:cNvSpPr>
            <a:spLocks noChangeAspect="1"/>
          </p:cNvSpPr>
          <p:nvPr>
            <p:custDataLst>
              <p:tags r:id="rId16"/>
            </p:custDataLst>
          </p:nvPr>
        </p:nvSpPr>
        <p:spPr bwMode="auto">
          <a:xfrm>
            <a:off x="4040277" y="5250397"/>
            <a:ext cx="279409" cy="264387"/>
          </a:xfrm>
          <a:custGeom>
            <a:avLst/>
            <a:gdLst>
              <a:gd name="T0" fmla="*/ 561 w 573"/>
              <a:gd name="T1" fmla="*/ 0 h 543"/>
              <a:gd name="T2" fmla="*/ 167 w 573"/>
              <a:gd name="T3" fmla="*/ 396 h 543"/>
              <a:gd name="T4" fmla="*/ 86 w 573"/>
              <a:gd name="T5" fmla="*/ 282 h 543"/>
              <a:gd name="T6" fmla="*/ 0 w 573"/>
              <a:gd name="T7" fmla="*/ 330 h 543"/>
              <a:gd name="T8" fmla="*/ 128 w 573"/>
              <a:gd name="T9" fmla="*/ 543 h 543"/>
              <a:gd name="T10" fmla="*/ 215 w 573"/>
              <a:gd name="T11" fmla="*/ 482 h 543"/>
              <a:gd name="T12" fmla="*/ 573 w 573"/>
              <a:gd name="T13" fmla="*/ 18 h 543"/>
              <a:gd name="T14" fmla="*/ 561 w 573"/>
              <a:gd name="T15" fmla="*/ 0 h 543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573"/>
              <a:gd name="T25" fmla="*/ 0 h 543"/>
              <a:gd name="T26" fmla="*/ 573 w 573"/>
              <a:gd name="T27" fmla="*/ 543 h 543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573" h="543">
                <a:moveTo>
                  <a:pt x="561" y="0"/>
                </a:moveTo>
                <a:cubicBezTo>
                  <a:pt x="350" y="120"/>
                  <a:pt x="212" y="317"/>
                  <a:pt x="167" y="396"/>
                </a:cubicBezTo>
                <a:cubicBezTo>
                  <a:pt x="132" y="318"/>
                  <a:pt x="110" y="290"/>
                  <a:pt x="86" y="282"/>
                </a:cubicBezTo>
                <a:cubicBezTo>
                  <a:pt x="32" y="285"/>
                  <a:pt x="9" y="321"/>
                  <a:pt x="0" y="330"/>
                </a:cubicBezTo>
                <a:cubicBezTo>
                  <a:pt x="62" y="348"/>
                  <a:pt x="119" y="504"/>
                  <a:pt x="128" y="543"/>
                </a:cubicBezTo>
                <a:cubicBezTo>
                  <a:pt x="171" y="512"/>
                  <a:pt x="215" y="482"/>
                  <a:pt x="215" y="482"/>
                </a:cubicBezTo>
                <a:cubicBezTo>
                  <a:pt x="251" y="405"/>
                  <a:pt x="359" y="200"/>
                  <a:pt x="573" y="18"/>
                </a:cubicBezTo>
                <a:cubicBezTo>
                  <a:pt x="573" y="18"/>
                  <a:pt x="567" y="9"/>
                  <a:pt x="561" y="0"/>
                </a:cubicBezTo>
                <a:close/>
              </a:path>
            </a:pathLst>
          </a:custGeom>
          <a:solidFill>
            <a:srgbClr val="2C973E"/>
          </a:solidFill>
          <a:ln w="3175">
            <a:noFill/>
            <a:prstDash val="dash"/>
            <a:round/>
            <a:headEnd/>
            <a:tailEnd/>
          </a:ln>
          <a:effectLst/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Klavika" panose="02000000000000000000"/>
            </a:endParaRPr>
          </a:p>
        </p:txBody>
      </p:sp>
      <p:sp>
        <p:nvSpPr>
          <p:cNvPr id="1066" name="Freeform 12">
            <a:extLst>
              <a:ext uri="{FF2B5EF4-FFF2-40B4-BE49-F238E27FC236}">
                <a16:creationId xmlns:a16="http://schemas.microsoft.com/office/drawing/2014/main" id="{652FC5F5-8028-9BC6-DEC3-EAACB263D446}"/>
              </a:ext>
            </a:extLst>
          </p:cNvPr>
          <p:cNvSpPr>
            <a:spLocks noChangeAspect="1"/>
          </p:cNvSpPr>
          <p:nvPr>
            <p:custDataLst>
              <p:tags r:id="rId17"/>
            </p:custDataLst>
          </p:nvPr>
        </p:nvSpPr>
        <p:spPr bwMode="auto">
          <a:xfrm>
            <a:off x="4040277" y="5487555"/>
            <a:ext cx="279409" cy="264387"/>
          </a:xfrm>
          <a:custGeom>
            <a:avLst/>
            <a:gdLst>
              <a:gd name="T0" fmla="*/ 561 w 573"/>
              <a:gd name="T1" fmla="*/ 0 h 543"/>
              <a:gd name="T2" fmla="*/ 167 w 573"/>
              <a:gd name="T3" fmla="*/ 396 h 543"/>
              <a:gd name="T4" fmla="*/ 86 w 573"/>
              <a:gd name="T5" fmla="*/ 282 h 543"/>
              <a:gd name="T6" fmla="*/ 0 w 573"/>
              <a:gd name="T7" fmla="*/ 330 h 543"/>
              <a:gd name="T8" fmla="*/ 128 w 573"/>
              <a:gd name="T9" fmla="*/ 543 h 543"/>
              <a:gd name="T10" fmla="*/ 215 w 573"/>
              <a:gd name="T11" fmla="*/ 482 h 543"/>
              <a:gd name="T12" fmla="*/ 573 w 573"/>
              <a:gd name="T13" fmla="*/ 18 h 543"/>
              <a:gd name="T14" fmla="*/ 561 w 573"/>
              <a:gd name="T15" fmla="*/ 0 h 543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573"/>
              <a:gd name="T25" fmla="*/ 0 h 543"/>
              <a:gd name="T26" fmla="*/ 573 w 573"/>
              <a:gd name="T27" fmla="*/ 543 h 543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573" h="543">
                <a:moveTo>
                  <a:pt x="561" y="0"/>
                </a:moveTo>
                <a:cubicBezTo>
                  <a:pt x="350" y="120"/>
                  <a:pt x="212" y="317"/>
                  <a:pt x="167" y="396"/>
                </a:cubicBezTo>
                <a:cubicBezTo>
                  <a:pt x="132" y="318"/>
                  <a:pt x="110" y="290"/>
                  <a:pt x="86" y="282"/>
                </a:cubicBezTo>
                <a:cubicBezTo>
                  <a:pt x="32" y="285"/>
                  <a:pt x="9" y="321"/>
                  <a:pt x="0" y="330"/>
                </a:cubicBezTo>
                <a:cubicBezTo>
                  <a:pt x="62" y="348"/>
                  <a:pt x="119" y="504"/>
                  <a:pt x="128" y="543"/>
                </a:cubicBezTo>
                <a:cubicBezTo>
                  <a:pt x="171" y="512"/>
                  <a:pt x="215" y="482"/>
                  <a:pt x="215" y="482"/>
                </a:cubicBezTo>
                <a:cubicBezTo>
                  <a:pt x="251" y="405"/>
                  <a:pt x="359" y="200"/>
                  <a:pt x="573" y="18"/>
                </a:cubicBezTo>
                <a:cubicBezTo>
                  <a:pt x="573" y="18"/>
                  <a:pt x="567" y="9"/>
                  <a:pt x="561" y="0"/>
                </a:cubicBezTo>
                <a:close/>
              </a:path>
            </a:pathLst>
          </a:custGeom>
          <a:solidFill>
            <a:srgbClr val="2C973E"/>
          </a:solidFill>
          <a:ln w="3175">
            <a:noFill/>
            <a:prstDash val="dash"/>
            <a:round/>
            <a:headEnd/>
            <a:tailEnd/>
          </a:ln>
          <a:effectLst/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Klavika" panose="02000000000000000000"/>
            </a:endParaRPr>
          </a:p>
        </p:txBody>
      </p:sp>
      <p:sp>
        <p:nvSpPr>
          <p:cNvPr id="1067" name="Freeform 12">
            <a:extLst>
              <a:ext uri="{FF2B5EF4-FFF2-40B4-BE49-F238E27FC236}">
                <a16:creationId xmlns:a16="http://schemas.microsoft.com/office/drawing/2014/main" id="{C07FEF6B-1E72-3991-678B-B6D4F4924213}"/>
              </a:ext>
            </a:extLst>
          </p:cNvPr>
          <p:cNvSpPr>
            <a:spLocks noChangeAspect="1"/>
          </p:cNvSpPr>
          <p:nvPr>
            <p:custDataLst>
              <p:tags r:id="rId18"/>
            </p:custDataLst>
          </p:nvPr>
        </p:nvSpPr>
        <p:spPr bwMode="auto">
          <a:xfrm>
            <a:off x="4040277" y="5724713"/>
            <a:ext cx="279409" cy="264387"/>
          </a:xfrm>
          <a:custGeom>
            <a:avLst/>
            <a:gdLst>
              <a:gd name="T0" fmla="*/ 561 w 573"/>
              <a:gd name="T1" fmla="*/ 0 h 543"/>
              <a:gd name="T2" fmla="*/ 167 w 573"/>
              <a:gd name="T3" fmla="*/ 396 h 543"/>
              <a:gd name="T4" fmla="*/ 86 w 573"/>
              <a:gd name="T5" fmla="*/ 282 h 543"/>
              <a:gd name="T6" fmla="*/ 0 w 573"/>
              <a:gd name="T7" fmla="*/ 330 h 543"/>
              <a:gd name="T8" fmla="*/ 128 w 573"/>
              <a:gd name="T9" fmla="*/ 543 h 543"/>
              <a:gd name="T10" fmla="*/ 215 w 573"/>
              <a:gd name="T11" fmla="*/ 482 h 543"/>
              <a:gd name="T12" fmla="*/ 573 w 573"/>
              <a:gd name="T13" fmla="*/ 18 h 543"/>
              <a:gd name="T14" fmla="*/ 561 w 573"/>
              <a:gd name="T15" fmla="*/ 0 h 543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573"/>
              <a:gd name="T25" fmla="*/ 0 h 543"/>
              <a:gd name="T26" fmla="*/ 573 w 573"/>
              <a:gd name="T27" fmla="*/ 543 h 543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573" h="543">
                <a:moveTo>
                  <a:pt x="561" y="0"/>
                </a:moveTo>
                <a:cubicBezTo>
                  <a:pt x="350" y="120"/>
                  <a:pt x="212" y="317"/>
                  <a:pt x="167" y="396"/>
                </a:cubicBezTo>
                <a:cubicBezTo>
                  <a:pt x="132" y="318"/>
                  <a:pt x="110" y="290"/>
                  <a:pt x="86" y="282"/>
                </a:cubicBezTo>
                <a:cubicBezTo>
                  <a:pt x="32" y="285"/>
                  <a:pt x="9" y="321"/>
                  <a:pt x="0" y="330"/>
                </a:cubicBezTo>
                <a:cubicBezTo>
                  <a:pt x="62" y="348"/>
                  <a:pt x="119" y="504"/>
                  <a:pt x="128" y="543"/>
                </a:cubicBezTo>
                <a:cubicBezTo>
                  <a:pt x="171" y="512"/>
                  <a:pt x="215" y="482"/>
                  <a:pt x="215" y="482"/>
                </a:cubicBezTo>
                <a:cubicBezTo>
                  <a:pt x="251" y="405"/>
                  <a:pt x="359" y="200"/>
                  <a:pt x="573" y="18"/>
                </a:cubicBezTo>
                <a:cubicBezTo>
                  <a:pt x="573" y="18"/>
                  <a:pt x="567" y="9"/>
                  <a:pt x="561" y="0"/>
                </a:cubicBezTo>
                <a:close/>
              </a:path>
            </a:pathLst>
          </a:custGeom>
          <a:solidFill>
            <a:srgbClr val="2C973E"/>
          </a:solidFill>
          <a:ln w="3175">
            <a:noFill/>
            <a:prstDash val="dash"/>
            <a:round/>
            <a:headEnd/>
            <a:tailEnd/>
          </a:ln>
          <a:effectLst/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Klavika" panose="02000000000000000000"/>
            </a:endParaRPr>
          </a:p>
        </p:txBody>
      </p:sp>
      <p:sp>
        <p:nvSpPr>
          <p:cNvPr id="1068" name="Freeform 12">
            <a:extLst>
              <a:ext uri="{FF2B5EF4-FFF2-40B4-BE49-F238E27FC236}">
                <a16:creationId xmlns:a16="http://schemas.microsoft.com/office/drawing/2014/main" id="{7C17C131-0CD5-3122-F779-BE6458235E3E}"/>
              </a:ext>
            </a:extLst>
          </p:cNvPr>
          <p:cNvSpPr>
            <a:spLocks noChangeAspect="1"/>
          </p:cNvSpPr>
          <p:nvPr>
            <p:custDataLst>
              <p:tags r:id="rId19"/>
            </p:custDataLst>
          </p:nvPr>
        </p:nvSpPr>
        <p:spPr bwMode="auto">
          <a:xfrm>
            <a:off x="5339816" y="1693027"/>
            <a:ext cx="279409" cy="264387"/>
          </a:xfrm>
          <a:custGeom>
            <a:avLst/>
            <a:gdLst>
              <a:gd name="T0" fmla="*/ 561 w 573"/>
              <a:gd name="T1" fmla="*/ 0 h 543"/>
              <a:gd name="T2" fmla="*/ 167 w 573"/>
              <a:gd name="T3" fmla="*/ 396 h 543"/>
              <a:gd name="T4" fmla="*/ 86 w 573"/>
              <a:gd name="T5" fmla="*/ 282 h 543"/>
              <a:gd name="T6" fmla="*/ 0 w 573"/>
              <a:gd name="T7" fmla="*/ 330 h 543"/>
              <a:gd name="T8" fmla="*/ 128 w 573"/>
              <a:gd name="T9" fmla="*/ 543 h 543"/>
              <a:gd name="T10" fmla="*/ 215 w 573"/>
              <a:gd name="T11" fmla="*/ 482 h 543"/>
              <a:gd name="T12" fmla="*/ 573 w 573"/>
              <a:gd name="T13" fmla="*/ 18 h 543"/>
              <a:gd name="T14" fmla="*/ 561 w 573"/>
              <a:gd name="T15" fmla="*/ 0 h 543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573"/>
              <a:gd name="T25" fmla="*/ 0 h 543"/>
              <a:gd name="T26" fmla="*/ 573 w 573"/>
              <a:gd name="T27" fmla="*/ 543 h 543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573" h="543">
                <a:moveTo>
                  <a:pt x="561" y="0"/>
                </a:moveTo>
                <a:cubicBezTo>
                  <a:pt x="350" y="120"/>
                  <a:pt x="212" y="317"/>
                  <a:pt x="167" y="396"/>
                </a:cubicBezTo>
                <a:cubicBezTo>
                  <a:pt x="132" y="318"/>
                  <a:pt x="110" y="290"/>
                  <a:pt x="86" y="282"/>
                </a:cubicBezTo>
                <a:cubicBezTo>
                  <a:pt x="32" y="285"/>
                  <a:pt x="9" y="321"/>
                  <a:pt x="0" y="330"/>
                </a:cubicBezTo>
                <a:cubicBezTo>
                  <a:pt x="62" y="348"/>
                  <a:pt x="119" y="504"/>
                  <a:pt x="128" y="543"/>
                </a:cubicBezTo>
                <a:cubicBezTo>
                  <a:pt x="171" y="512"/>
                  <a:pt x="215" y="482"/>
                  <a:pt x="215" y="482"/>
                </a:cubicBezTo>
                <a:cubicBezTo>
                  <a:pt x="251" y="405"/>
                  <a:pt x="359" y="200"/>
                  <a:pt x="573" y="18"/>
                </a:cubicBezTo>
                <a:cubicBezTo>
                  <a:pt x="573" y="18"/>
                  <a:pt x="567" y="9"/>
                  <a:pt x="561" y="0"/>
                </a:cubicBezTo>
                <a:close/>
              </a:path>
            </a:pathLst>
          </a:custGeom>
          <a:solidFill>
            <a:srgbClr val="2C973E"/>
          </a:solidFill>
          <a:ln w="3175">
            <a:noFill/>
            <a:prstDash val="dash"/>
            <a:round/>
            <a:headEnd/>
            <a:tailEnd/>
          </a:ln>
          <a:effectLst/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Klavika" panose="02000000000000000000"/>
            </a:endParaRPr>
          </a:p>
        </p:txBody>
      </p:sp>
      <p:sp>
        <p:nvSpPr>
          <p:cNvPr id="1069" name="Freeform 12">
            <a:extLst>
              <a:ext uri="{FF2B5EF4-FFF2-40B4-BE49-F238E27FC236}">
                <a16:creationId xmlns:a16="http://schemas.microsoft.com/office/drawing/2014/main" id="{FC33A614-9ABC-CB20-799A-81C4FD84A1EC}"/>
              </a:ext>
            </a:extLst>
          </p:cNvPr>
          <p:cNvSpPr>
            <a:spLocks noChangeAspect="1"/>
          </p:cNvSpPr>
          <p:nvPr>
            <p:custDataLst>
              <p:tags r:id="rId20"/>
            </p:custDataLst>
          </p:nvPr>
        </p:nvSpPr>
        <p:spPr bwMode="auto">
          <a:xfrm>
            <a:off x="5339816" y="2167343"/>
            <a:ext cx="279409" cy="264387"/>
          </a:xfrm>
          <a:custGeom>
            <a:avLst/>
            <a:gdLst>
              <a:gd name="T0" fmla="*/ 561 w 573"/>
              <a:gd name="T1" fmla="*/ 0 h 543"/>
              <a:gd name="T2" fmla="*/ 167 w 573"/>
              <a:gd name="T3" fmla="*/ 396 h 543"/>
              <a:gd name="T4" fmla="*/ 86 w 573"/>
              <a:gd name="T5" fmla="*/ 282 h 543"/>
              <a:gd name="T6" fmla="*/ 0 w 573"/>
              <a:gd name="T7" fmla="*/ 330 h 543"/>
              <a:gd name="T8" fmla="*/ 128 w 573"/>
              <a:gd name="T9" fmla="*/ 543 h 543"/>
              <a:gd name="T10" fmla="*/ 215 w 573"/>
              <a:gd name="T11" fmla="*/ 482 h 543"/>
              <a:gd name="T12" fmla="*/ 573 w 573"/>
              <a:gd name="T13" fmla="*/ 18 h 543"/>
              <a:gd name="T14" fmla="*/ 561 w 573"/>
              <a:gd name="T15" fmla="*/ 0 h 543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573"/>
              <a:gd name="T25" fmla="*/ 0 h 543"/>
              <a:gd name="T26" fmla="*/ 573 w 573"/>
              <a:gd name="T27" fmla="*/ 543 h 543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573" h="543">
                <a:moveTo>
                  <a:pt x="561" y="0"/>
                </a:moveTo>
                <a:cubicBezTo>
                  <a:pt x="350" y="120"/>
                  <a:pt x="212" y="317"/>
                  <a:pt x="167" y="396"/>
                </a:cubicBezTo>
                <a:cubicBezTo>
                  <a:pt x="132" y="318"/>
                  <a:pt x="110" y="290"/>
                  <a:pt x="86" y="282"/>
                </a:cubicBezTo>
                <a:cubicBezTo>
                  <a:pt x="32" y="285"/>
                  <a:pt x="9" y="321"/>
                  <a:pt x="0" y="330"/>
                </a:cubicBezTo>
                <a:cubicBezTo>
                  <a:pt x="62" y="348"/>
                  <a:pt x="119" y="504"/>
                  <a:pt x="128" y="543"/>
                </a:cubicBezTo>
                <a:cubicBezTo>
                  <a:pt x="171" y="512"/>
                  <a:pt x="215" y="482"/>
                  <a:pt x="215" y="482"/>
                </a:cubicBezTo>
                <a:cubicBezTo>
                  <a:pt x="251" y="405"/>
                  <a:pt x="359" y="200"/>
                  <a:pt x="573" y="18"/>
                </a:cubicBezTo>
                <a:cubicBezTo>
                  <a:pt x="573" y="18"/>
                  <a:pt x="567" y="9"/>
                  <a:pt x="561" y="0"/>
                </a:cubicBezTo>
                <a:close/>
              </a:path>
            </a:pathLst>
          </a:custGeom>
          <a:solidFill>
            <a:srgbClr val="2C973E"/>
          </a:solidFill>
          <a:ln w="3175">
            <a:noFill/>
            <a:prstDash val="dash"/>
            <a:round/>
            <a:headEnd/>
            <a:tailEnd/>
          </a:ln>
          <a:effectLst/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Klavika" panose="02000000000000000000"/>
            </a:endParaRPr>
          </a:p>
        </p:txBody>
      </p:sp>
      <p:grpSp>
        <p:nvGrpSpPr>
          <p:cNvPr id="1070" name="Group 5">
            <a:extLst>
              <a:ext uri="{FF2B5EF4-FFF2-40B4-BE49-F238E27FC236}">
                <a16:creationId xmlns:a16="http://schemas.microsoft.com/office/drawing/2014/main" id="{38500FD0-00E9-DABB-179F-6DA932C5CE63}"/>
              </a:ext>
            </a:extLst>
          </p:cNvPr>
          <p:cNvGrpSpPr>
            <a:grpSpLocks noChangeAspect="1"/>
          </p:cNvGrpSpPr>
          <p:nvPr>
            <p:custDataLst>
              <p:tags r:id="rId21"/>
            </p:custDataLst>
          </p:nvPr>
        </p:nvGrpSpPr>
        <p:grpSpPr bwMode="auto">
          <a:xfrm>
            <a:off x="5350344" y="1927215"/>
            <a:ext cx="258351" cy="270328"/>
            <a:chOff x="1117" y="1342"/>
            <a:chExt cx="2260" cy="2366"/>
          </a:xfrm>
          <a:solidFill>
            <a:srgbClr val="FF0000"/>
          </a:solidFill>
        </p:grpSpPr>
        <p:sp>
          <p:nvSpPr>
            <p:cNvPr id="1071" name="Freeform 6">
              <a:extLst>
                <a:ext uri="{FF2B5EF4-FFF2-40B4-BE49-F238E27FC236}">
                  <a16:creationId xmlns:a16="http://schemas.microsoft.com/office/drawing/2014/main" id="{48AAFE26-DC3D-538D-DE98-BFB4EE5B70D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7" y="1342"/>
              <a:ext cx="2260" cy="2315"/>
            </a:xfrm>
            <a:custGeom>
              <a:avLst/>
              <a:gdLst>
                <a:gd name="T0" fmla="*/ 30 w 2260"/>
                <a:gd name="T1" fmla="*/ 181 h 2315"/>
                <a:gd name="T2" fmla="*/ 743 w 2260"/>
                <a:gd name="T3" fmla="*/ 1186 h 2315"/>
                <a:gd name="T4" fmla="*/ 1838 w 2260"/>
                <a:gd name="T5" fmla="*/ 2154 h 2315"/>
                <a:gd name="T6" fmla="*/ 1935 w 2260"/>
                <a:gd name="T7" fmla="*/ 2064 h 2315"/>
                <a:gd name="T8" fmla="*/ 2025 w 2260"/>
                <a:gd name="T9" fmla="*/ 2079 h 2315"/>
                <a:gd name="T10" fmla="*/ 2100 w 2260"/>
                <a:gd name="T11" fmla="*/ 2004 h 2315"/>
                <a:gd name="T12" fmla="*/ 2228 w 2260"/>
                <a:gd name="T13" fmla="*/ 1989 h 2315"/>
                <a:gd name="T14" fmla="*/ 2220 w 2260"/>
                <a:gd name="T15" fmla="*/ 1936 h 2315"/>
                <a:gd name="T16" fmla="*/ 1125 w 2260"/>
                <a:gd name="T17" fmla="*/ 1044 h 2315"/>
                <a:gd name="T18" fmla="*/ 540 w 2260"/>
                <a:gd name="T19" fmla="*/ 346 h 2315"/>
                <a:gd name="T20" fmla="*/ 360 w 2260"/>
                <a:gd name="T21" fmla="*/ 24 h 2315"/>
                <a:gd name="T22" fmla="*/ 315 w 2260"/>
                <a:gd name="T23" fmla="*/ 16 h 2315"/>
                <a:gd name="T24" fmla="*/ 263 w 2260"/>
                <a:gd name="T25" fmla="*/ 76 h 2315"/>
                <a:gd name="T26" fmla="*/ 270 w 2260"/>
                <a:gd name="T27" fmla="*/ 159 h 2315"/>
                <a:gd name="T28" fmla="*/ 195 w 2260"/>
                <a:gd name="T29" fmla="*/ 144 h 2315"/>
                <a:gd name="T30" fmla="*/ 143 w 2260"/>
                <a:gd name="T31" fmla="*/ 204 h 2315"/>
                <a:gd name="T32" fmla="*/ 30 w 2260"/>
                <a:gd name="T33" fmla="*/ 181 h 2315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w 2260"/>
                <a:gd name="T52" fmla="*/ 0 h 2315"/>
                <a:gd name="T53" fmla="*/ 2260 w 2260"/>
                <a:gd name="T54" fmla="*/ 2315 h 2315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T51" t="T52" r="T53" b="T54"/>
              <a:pathLst>
                <a:path w="2260" h="2315">
                  <a:moveTo>
                    <a:pt x="30" y="181"/>
                  </a:moveTo>
                  <a:cubicBezTo>
                    <a:pt x="0" y="361"/>
                    <a:pt x="442" y="857"/>
                    <a:pt x="743" y="1186"/>
                  </a:cubicBezTo>
                  <a:cubicBezTo>
                    <a:pt x="1044" y="1515"/>
                    <a:pt x="1639" y="2008"/>
                    <a:pt x="1838" y="2154"/>
                  </a:cubicBezTo>
                  <a:cubicBezTo>
                    <a:pt x="2051" y="2315"/>
                    <a:pt x="1875" y="2084"/>
                    <a:pt x="1935" y="2064"/>
                  </a:cubicBezTo>
                  <a:cubicBezTo>
                    <a:pt x="1966" y="2052"/>
                    <a:pt x="1998" y="2089"/>
                    <a:pt x="2025" y="2079"/>
                  </a:cubicBezTo>
                  <a:cubicBezTo>
                    <a:pt x="2052" y="2069"/>
                    <a:pt x="2066" y="2019"/>
                    <a:pt x="2100" y="2004"/>
                  </a:cubicBezTo>
                  <a:cubicBezTo>
                    <a:pt x="2116" y="1995"/>
                    <a:pt x="2228" y="1989"/>
                    <a:pt x="2228" y="1989"/>
                  </a:cubicBezTo>
                  <a:cubicBezTo>
                    <a:pt x="2239" y="1954"/>
                    <a:pt x="2260" y="1950"/>
                    <a:pt x="2220" y="1936"/>
                  </a:cubicBezTo>
                  <a:cubicBezTo>
                    <a:pt x="2010" y="1745"/>
                    <a:pt x="1404" y="1343"/>
                    <a:pt x="1125" y="1044"/>
                  </a:cubicBezTo>
                  <a:cubicBezTo>
                    <a:pt x="845" y="779"/>
                    <a:pt x="639" y="464"/>
                    <a:pt x="540" y="346"/>
                  </a:cubicBezTo>
                  <a:cubicBezTo>
                    <a:pt x="413" y="176"/>
                    <a:pt x="390" y="50"/>
                    <a:pt x="360" y="24"/>
                  </a:cubicBezTo>
                  <a:cubicBezTo>
                    <a:pt x="355" y="33"/>
                    <a:pt x="325" y="13"/>
                    <a:pt x="315" y="16"/>
                  </a:cubicBezTo>
                  <a:cubicBezTo>
                    <a:pt x="284" y="0"/>
                    <a:pt x="296" y="87"/>
                    <a:pt x="263" y="76"/>
                  </a:cubicBezTo>
                  <a:cubicBezTo>
                    <a:pt x="243" y="106"/>
                    <a:pt x="296" y="133"/>
                    <a:pt x="270" y="159"/>
                  </a:cubicBezTo>
                  <a:cubicBezTo>
                    <a:pt x="209" y="220"/>
                    <a:pt x="248" y="152"/>
                    <a:pt x="195" y="144"/>
                  </a:cubicBezTo>
                  <a:cubicBezTo>
                    <a:pt x="171" y="144"/>
                    <a:pt x="170" y="198"/>
                    <a:pt x="143" y="204"/>
                  </a:cubicBezTo>
                  <a:cubicBezTo>
                    <a:pt x="116" y="210"/>
                    <a:pt x="54" y="186"/>
                    <a:pt x="30" y="18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pPr marL="0" marR="0" lvl="0" indent="0" defTabSz="914400" eaLnBrk="0" fontAlgn="base" latinLnBrk="0" hangingPunct="0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>
                  <a:srgbClr val="3C58A1"/>
                </a:buClr>
                <a:buSzPct val="80000"/>
                <a:buFont typeface="Wingdings" pitchFamily="2" charset="2"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lavika" panose="02000000000000000000"/>
              </a:endParaRPr>
            </a:p>
          </p:txBody>
        </p:sp>
        <p:sp>
          <p:nvSpPr>
            <p:cNvPr id="1072" name="Freeform 7">
              <a:extLst>
                <a:ext uri="{FF2B5EF4-FFF2-40B4-BE49-F238E27FC236}">
                  <a16:creationId xmlns:a16="http://schemas.microsoft.com/office/drawing/2014/main" id="{8EDA09AD-A7D4-FFE6-5AD5-69BCAC191074}"/>
                </a:ext>
              </a:extLst>
            </p:cNvPr>
            <p:cNvSpPr>
              <a:spLocks/>
            </p:cNvSpPr>
            <p:nvPr/>
          </p:nvSpPr>
          <p:spPr bwMode="auto">
            <a:xfrm flipV="1">
              <a:off x="1177" y="1394"/>
              <a:ext cx="1922" cy="2314"/>
            </a:xfrm>
            <a:custGeom>
              <a:avLst/>
              <a:gdLst>
                <a:gd name="T0" fmla="*/ 26 w 2087"/>
                <a:gd name="T1" fmla="*/ 206 h 2502"/>
                <a:gd name="T2" fmla="*/ 483 w 2087"/>
                <a:gd name="T3" fmla="*/ 1175 h 2502"/>
                <a:gd name="T4" fmla="*/ 1412 w 2087"/>
                <a:gd name="T5" fmla="*/ 2002 h 2502"/>
                <a:gd name="T6" fmla="*/ 1495 w 2087"/>
                <a:gd name="T7" fmla="*/ 1926 h 2502"/>
                <a:gd name="T8" fmla="*/ 1571 w 2087"/>
                <a:gd name="T9" fmla="*/ 1939 h 2502"/>
                <a:gd name="T10" fmla="*/ 1635 w 2087"/>
                <a:gd name="T11" fmla="*/ 1874 h 2502"/>
                <a:gd name="T12" fmla="*/ 1743 w 2087"/>
                <a:gd name="T13" fmla="*/ 1861 h 2502"/>
                <a:gd name="T14" fmla="*/ 1736 w 2087"/>
                <a:gd name="T15" fmla="*/ 1816 h 2502"/>
                <a:gd name="T16" fmla="*/ 375 w 2087"/>
                <a:gd name="T17" fmla="*/ 232 h 2502"/>
                <a:gd name="T18" fmla="*/ 324 w 2087"/>
                <a:gd name="T19" fmla="*/ 58 h 2502"/>
                <a:gd name="T20" fmla="*/ 274 w 2087"/>
                <a:gd name="T21" fmla="*/ 97 h 2502"/>
                <a:gd name="T22" fmla="*/ 248 w 2087"/>
                <a:gd name="T23" fmla="*/ 104 h 2502"/>
                <a:gd name="T24" fmla="*/ 166 w 2087"/>
                <a:gd name="T25" fmla="*/ 65 h 2502"/>
                <a:gd name="T26" fmla="*/ 127 w 2087"/>
                <a:gd name="T27" fmla="*/ 148 h 2502"/>
                <a:gd name="T28" fmla="*/ 44 w 2087"/>
                <a:gd name="T29" fmla="*/ 174 h 2502"/>
                <a:gd name="T30" fmla="*/ 26 w 2087"/>
                <a:gd name="T31" fmla="*/ 206 h 2502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2087"/>
                <a:gd name="T49" fmla="*/ 0 h 2502"/>
                <a:gd name="T50" fmla="*/ 2087 w 2087"/>
                <a:gd name="T51" fmla="*/ 2502 h 2502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2087" h="2502">
                  <a:moveTo>
                    <a:pt x="30" y="241"/>
                  </a:moveTo>
                  <a:cubicBezTo>
                    <a:pt x="0" y="421"/>
                    <a:pt x="297" y="1023"/>
                    <a:pt x="570" y="1373"/>
                  </a:cubicBezTo>
                  <a:cubicBezTo>
                    <a:pt x="843" y="1723"/>
                    <a:pt x="1466" y="2195"/>
                    <a:pt x="1665" y="2341"/>
                  </a:cubicBezTo>
                  <a:cubicBezTo>
                    <a:pt x="1878" y="2502"/>
                    <a:pt x="1702" y="2271"/>
                    <a:pt x="1762" y="2251"/>
                  </a:cubicBezTo>
                  <a:cubicBezTo>
                    <a:pt x="1793" y="2239"/>
                    <a:pt x="1825" y="2276"/>
                    <a:pt x="1852" y="2266"/>
                  </a:cubicBezTo>
                  <a:cubicBezTo>
                    <a:pt x="1879" y="2256"/>
                    <a:pt x="1893" y="2206"/>
                    <a:pt x="1927" y="2191"/>
                  </a:cubicBezTo>
                  <a:cubicBezTo>
                    <a:pt x="1943" y="2182"/>
                    <a:pt x="2055" y="2176"/>
                    <a:pt x="2055" y="2176"/>
                  </a:cubicBezTo>
                  <a:cubicBezTo>
                    <a:pt x="2066" y="2141"/>
                    <a:pt x="2087" y="2137"/>
                    <a:pt x="2047" y="2123"/>
                  </a:cubicBezTo>
                  <a:cubicBezTo>
                    <a:pt x="1778" y="1806"/>
                    <a:pt x="682" y="1298"/>
                    <a:pt x="442" y="271"/>
                  </a:cubicBezTo>
                  <a:cubicBezTo>
                    <a:pt x="427" y="204"/>
                    <a:pt x="420" y="126"/>
                    <a:pt x="382" y="68"/>
                  </a:cubicBezTo>
                  <a:cubicBezTo>
                    <a:pt x="360" y="0"/>
                    <a:pt x="330" y="97"/>
                    <a:pt x="322" y="113"/>
                  </a:cubicBezTo>
                  <a:cubicBezTo>
                    <a:pt x="317" y="122"/>
                    <a:pt x="302" y="118"/>
                    <a:pt x="292" y="121"/>
                  </a:cubicBezTo>
                  <a:cubicBezTo>
                    <a:pt x="261" y="105"/>
                    <a:pt x="228" y="87"/>
                    <a:pt x="195" y="76"/>
                  </a:cubicBezTo>
                  <a:cubicBezTo>
                    <a:pt x="175" y="106"/>
                    <a:pt x="176" y="147"/>
                    <a:pt x="150" y="173"/>
                  </a:cubicBezTo>
                  <a:cubicBezTo>
                    <a:pt x="89" y="234"/>
                    <a:pt x="156" y="151"/>
                    <a:pt x="52" y="203"/>
                  </a:cubicBezTo>
                  <a:cubicBezTo>
                    <a:pt x="39" y="210"/>
                    <a:pt x="37" y="228"/>
                    <a:pt x="30" y="24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pPr marL="0" marR="0" lvl="0" indent="0" defTabSz="914400" eaLnBrk="0" fontAlgn="base" latinLnBrk="0" hangingPunct="0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>
                  <a:srgbClr val="3C58A1"/>
                </a:buClr>
                <a:buSzPct val="80000"/>
                <a:buFont typeface="Wingdings" pitchFamily="2" charset="2"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lavika" panose="02000000000000000000"/>
              </a:endParaRPr>
            </a:p>
          </p:txBody>
        </p:sp>
      </p:grpSp>
      <p:grpSp>
        <p:nvGrpSpPr>
          <p:cNvPr id="1073" name="Group 5">
            <a:extLst>
              <a:ext uri="{FF2B5EF4-FFF2-40B4-BE49-F238E27FC236}">
                <a16:creationId xmlns:a16="http://schemas.microsoft.com/office/drawing/2014/main" id="{5A1C100C-4888-22B9-F654-8A106C7F35B3}"/>
              </a:ext>
            </a:extLst>
          </p:cNvPr>
          <p:cNvGrpSpPr>
            <a:grpSpLocks noChangeAspect="1"/>
          </p:cNvGrpSpPr>
          <p:nvPr>
            <p:custDataLst>
              <p:tags r:id="rId22"/>
            </p:custDataLst>
          </p:nvPr>
        </p:nvGrpSpPr>
        <p:grpSpPr bwMode="auto">
          <a:xfrm>
            <a:off x="5350344" y="2401531"/>
            <a:ext cx="258351" cy="270328"/>
            <a:chOff x="1117" y="1342"/>
            <a:chExt cx="2260" cy="2366"/>
          </a:xfrm>
          <a:solidFill>
            <a:srgbClr val="FF0000"/>
          </a:solidFill>
        </p:grpSpPr>
        <p:sp>
          <p:nvSpPr>
            <p:cNvPr id="1074" name="Freeform 6">
              <a:extLst>
                <a:ext uri="{FF2B5EF4-FFF2-40B4-BE49-F238E27FC236}">
                  <a16:creationId xmlns:a16="http://schemas.microsoft.com/office/drawing/2014/main" id="{9C7B80A3-DF4A-713C-A581-AC2649764573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7" y="1342"/>
              <a:ext cx="2260" cy="2315"/>
            </a:xfrm>
            <a:custGeom>
              <a:avLst/>
              <a:gdLst>
                <a:gd name="T0" fmla="*/ 30 w 2260"/>
                <a:gd name="T1" fmla="*/ 181 h 2315"/>
                <a:gd name="T2" fmla="*/ 743 w 2260"/>
                <a:gd name="T3" fmla="*/ 1186 h 2315"/>
                <a:gd name="T4" fmla="*/ 1838 w 2260"/>
                <a:gd name="T5" fmla="*/ 2154 h 2315"/>
                <a:gd name="T6" fmla="*/ 1935 w 2260"/>
                <a:gd name="T7" fmla="*/ 2064 h 2315"/>
                <a:gd name="T8" fmla="*/ 2025 w 2260"/>
                <a:gd name="T9" fmla="*/ 2079 h 2315"/>
                <a:gd name="T10" fmla="*/ 2100 w 2260"/>
                <a:gd name="T11" fmla="*/ 2004 h 2315"/>
                <a:gd name="T12" fmla="*/ 2228 w 2260"/>
                <a:gd name="T13" fmla="*/ 1989 h 2315"/>
                <a:gd name="T14" fmla="*/ 2220 w 2260"/>
                <a:gd name="T15" fmla="*/ 1936 h 2315"/>
                <a:gd name="T16" fmla="*/ 1125 w 2260"/>
                <a:gd name="T17" fmla="*/ 1044 h 2315"/>
                <a:gd name="T18" fmla="*/ 540 w 2260"/>
                <a:gd name="T19" fmla="*/ 346 h 2315"/>
                <a:gd name="T20" fmla="*/ 360 w 2260"/>
                <a:gd name="T21" fmla="*/ 24 h 2315"/>
                <a:gd name="T22" fmla="*/ 315 w 2260"/>
                <a:gd name="T23" fmla="*/ 16 h 2315"/>
                <a:gd name="T24" fmla="*/ 263 w 2260"/>
                <a:gd name="T25" fmla="*/ 76 h 2315"/>
                <a:gd name="T26" fmla="*/ 270 w 2260"/>
                <a:gd name="T27" fmla="*/ 159 h 2315"/>
                <a:gd name="T28" fmla="*/ 195 w 2260"/>
                <a:gd name="T29" fmla="*/ 144 h 2315"/>
                <a:gd name="T30" fmla="*/ 143 w 2260"/>
                <a:gd name="T31" fmla="*/ 204 h 2315"/>
                <a:gd name="T32" fmla="*/ 30 w 2260"/>
                <a:gd name="T33" fmla="*/ 181 h 2315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w 2260"/>
                <a:gd name="T52" fmla="*/ 0 h 2315"/>
                <a:gd name="T53" fmla="*/ 2260 w 2260"/>
                <a:gd name="T54" fmla="*/ 2315 h 2315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T51" t="T52" r="T53" b="T54"/>
              <a:pathLst>
                <a:path w="2260" h="2315">
                  <a:moveTo>
                    <a:pt x="30" y="181"/>
                  </a:moveTo>
                  <a:cubicBezTo>
                    <a:pt x="0" y="361"/>
                    <a:pt x="442" y="857"/>
                    <a:pt x="743" y="1186"/>
                  </a:cubicBezTo>
                  <a:cubicBezTo>
                    <a:pt x="1044" y="1515"/>
                    <a:pt x="1639" y="2008"/>
                    <a:pt x="1838" y="2154"/>
                  </a:cubicBezTo>
                  <a:cubicBezTo>
                    <a:pt x="2051" y="2315"/>
                    <a:pt x="1875" y="2084"/>
                    <a:pt x="1935" y="2064"/>
                  </a:cubicBezTo>
                  <a:cubicBezTo>
                    <a:pt x="1966" y="2052"/>
                    <a:pt x="1998" y="2089"/>
                    <a:pt x="2025" y="2079"/>
                  </a:cubicBezTo>
                  <a:cubicBezTo>
                    <a:pt x="2052" y="2069"/>
                    <a:pt x="2066" y="2019"/>
                    <a:pt x="2100" y="2004"/>
                  </a:cubicBezTo>
                  <a:cubicBezTo>
                    <a:pt x="2116" y="1995"/>
                    <a:pt x="2228" y="1989"/>
                    <a:pt x="2228" y="1989"/>
                  </a:cubicBezTo>
                  <a:cubicBezTo>
                    <a:pt x="2239" y="1954"/>
                    <a:pt x="2260" y="1950"/>
                    <a:pt x="2220" y="1936"/>
                  </a:cubicBezTo>
                  <a:cubicBezTo>
                    <a:pt x="2010" y="1745"/>
                    <a:pt x="1404" y="1343"/>
                    <a:pt x="1125" y="1044"/>
                  </a:cubicBezTo>
                  <a:cubicBezTo>
                    <a:pt x="845" y="779"/>
                    <a:pt x="639" y="464"/>
                    <a:pt x="540" y="346"/>
                  </a:cubicBezTo>
                  <a:cubicBezTo>
                    <a:pt x="413" y="176"/>
                    <a:pt x="390" y="50"/>
                    <a:pt x="360" y="24"/>
                  </a:cubicBezTo>
                  <a:cubicBezTo>
                    <a:pt x="355" y="33"/>
                    <a:pt x="325" y="13"/>
                    <a:pt x="315" y="16"/>
                  </a:cubicBezTo>
                  <a:cubicBezTo>
                    <a:pt x="284" y="0"/>
                    <a:pt x="296" y="87"/>
                    <a:pt x="263" y="76"/>
                  </a:cubicBezTo>
                  <a:cubicBezTo>
                    <a:pt x="243" y="106"/>
                    <a:pt x="296" y="133"/>
                    <a:pt x="270" y="159"/>
                  </a:cubicBezTo>
                  <a:cubicBezTo>
                    <a:pt x="209" y="220"/>
                    <a:pt x="248" y="152"/>
                    <a:pt x="195" y="144"/>
                  </a:cubicBezTo>
                  <a:cubicBezTo>
                    <a:pt x="171" y="144"/>
                    <a:pt x="170" y="198"/>
                    <a:pt x="143" y="204"/>
                  </a:cubicBezTo>
                  <a:cubicBezTo>
                    <a:pt x="116" y="210"/>
                    <a:pt x="54" y="186"/>
                    <a:pt x="30" y="18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pPr marL="0" marR="0" lvl="0" indent="0" defTabSz="914400" eaLnBrk="0" fontAlgn="base" latinLnBrk="0" hangingPunct="0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>
                  <a:srgbClr val="3C58A1"/>
                </a:buClr>
                <a:buSzPct val="80000"/>
                <a:buFont typeface="Wingdings" pitchFamily="2" charset="2"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lavika" panose="02000000000000000000"/>
              </a:endParaRPr>
            </a:p>
          </p:txBody>
        </p:sp>
        <p:sp>
          <p:nvSpPr>
            <p:cNvPr id="1075" name="Freeform 7">
              <a:extLst>
                <a:ext uri="{FF2B5EF4-FFF2-40B4-BE49-F238E27FC236}">
                  <a16:creationId xmlns:a16="http://schemas.microsoft.com/office/drawing/2014/main" id="{65614416-031C-DB95-3598-99407851366E}"/>
                </a:ext>
              </a:extLst>
            </p:cNvPr>
            <p:cNvSpPr>
              <a:spLocks/>
            </p:cNvSpPr>
            <p:nvPr/>
          </p:nvSpPr>
          <p:spPr bwMode="auto">
            <a:xfrm flipV="1">
              <a:off x="1177" y="1394"/>
              <a:ext cx="1922" cy="2314"/>
            </a:xfrm>
            <a:custGeom>
              <a:avLst/>
              <a:gdLst>
                <a:gd name="T0" fmla="*/ 26 w 2087"/>
                <a:gd name="T1" fmla="*/ 206 h 2502"/>
                <a:gd name="T2" fmla="*/ 483 w 2087"/>
                <a:gd name="T3" fmla="*/ 1175 h 2502"/>
                <a:gd name="T4" fmla="*/ 1412 w 2087"/>
                <a:gd name="T5" fmla="*/ 2002 h 2502"/>
                <a:gd name="T6" fmla="*/ 1495 w 2087"/>
                <a:gd name="T7" fmla="*/ 1926 h 2502"/>
                <a:gd name="T8" fmla="*/ 1571 w 2087"/>
                <a:gd name="T9" fmla="*/ 1939 h 2502"/>
                <a:gd name="T10" fmla="*/ 1635 w 2087"/>
                <a:gd name="T11" fmla="*/ 1874 h 2502"/>
                <a:gd name="T12" fmla="*/ 1743 w 2087"/>
                <a:gd name="T13" fmla="*/ 1861 h 2502"/>
                <a:gd name="T14" fmla="*/ 1736 w 2087"/>
                <a:gd name="T15" fmla="*/ 1816 h 2502"/>
                <a:gd name="T16" fmla="*/ 375 w 2087"/>
                <a:gd name="T17" fmla="*/ 232 h 2502"/>
                <a:gd name="T18" fmla="*/ 324 w 2087"/>
                <a:gd name="T19" fmla="*/ 58 h 2502"/>
                <a:gd name="T20" fmla="*/ 274 w 2087"/>
                <a:gd name="T21" fmla="*/ 97 h 2502"/>
                <a:gd name="T22" fmla="*/ 248 w 2087"/>
                <a:gd name="T23" fmla="*/ 104 h 2502"/>
                <a:gd name="T24" fmla="*/ 166 w 2087"/>
                <a:gd name="T25" fmla="*/ 65 h 2502"/>
                <a:gd name="T26" fmla="*/ 127 w 2087"/>
                <a:gd name="T27" fmla="*/ 148 h 2502"/>
                <a:gd name="T28" fmla="*/ 44 w 2087"/>
                <a:gd name="T29" fmla="*/ 174 h 2502"/>
                <a:gd name="T30" fmla="*/ 26 w 2087"/>
                <a:gd name="T31" fmla="*/ 206 h 2502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2087"/>
                <a:gd name="T49" fmla="*/ 0 h 2502"/>
                <a:gd name="T50" fmla="*/ 2087 w 2087"/>
                <a:gd name="T51" fmla="*/ 2502 h 2502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2087" h="2502">
                  <a:moveTo>
                    <a:pt x="30" y="241"/>
                  </a:moveTo>
                  <a:cubicBezTo>
                    <a:pt x="0" y="421"/>
                    <a:pt x="297" y="1023"/>
                    <a:pt x="570" y="1373"/>
                  </a:cubicBezTo>
                  <a:cubicBezTo>
                    <a:pt x="843" y="1723"/>
                    <a:pt x="1466" y="2195"/>
                    <a:pt x="1665" y="2341"/>
                  </a:cubicBezTo>
                  <a:cubicBezTo>
                    <a:pt x="1878" y="2502"/>
                    <a:pt x="1702" y="2271"/>
                    <a:pt x="1762" y="2251"/>
                  </a:cubicBezTo>
                  <a:cubicBezTo>
                    <a:pt x="1793" y="2239"/>
                    <a:pt x="1825" y="2276"/>
                    <a:pt x="1852" y="2266"/>
                  </a:cubicBezTo>
                  <a:cubicBezTo>
                    <a:pt x="1879" y="2256"/>
                    <a:pt x="1893" y="2206"/>
                    <a:pt x="1927" y="2191"/>
                  </a:cubicBezTo>
                  <a:cubicBezTo>
                    <a:pt x="1943" y="2182"/>
                    <a:pt x="2055" y="2176"/>
                    <a:pt x="2055" y="2176"/>
                  </a:cubicBezTo>
                  <a:cubicBezTo>
                    <a:pt x="2066" y="2141"/>
                    <a:pt x="2087" y="2137"/>
                    <a:pt x="2047" y="2123"/>
                  </a:cubicBezTo>
                  <a:cubicBezTo>
                    <a:pt x="1778" y="1806"/>
                    <a:pt x="682" y="1298"/>
                    <a:pt x="442" y="271"/>
                  </a:cubicBezTo>
                  <a:cubicBezTo>
                    <a:pt x="427" y="204"/>
                    <a:pt x="420" y="126"/>
                    <a:pt x="382" y="68"/>
                  </a:cubicBezTo>
                  <a:cubicBezTo>
                    <a:pt x="360" y="0"/>
                    <a:pt x="330" y="97"/>
                    <a:pt x="322" y="113"/>
                  </a:cubicBezTo>
                  <a:cubicBezTo>
                    <a:pt x="317" y="122"/>
                    <a:pt x="302" y="118"/>
                    <a:pt x="292" y="121"/>
                  </a:cubicBezTo>
                  <a:cubicBezTo>
                    <a:pt x="261" y="105"/>
                    <a:pt x="228" y="87"/>
                    <a:pt x="195" y="76"/>
                  </a:cubicBezTo>
                  <a:cubicBezTo>
                    <a:pt x="175" y="106"/>
                    <a:pt x="176" y="147"/>
                    <a:pt x="150" y="173"/>
                  </a:cubicBezTo>
                  <a:cubicBezTo>
                    <a:pt x="89" y="234"/>
                    <a:pt x="156" y="151"/>
                    <a:pt x="52" y="203"/>
                  </a:cubicBezTo>
                  <a:cubicBezTo>
                    <a:pt x="39" y="210"/>
                    <a:pt x="37" y="228"/>
                    <a:pt x="30" y="24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pPr marL="0" marR="0" lvl="0" indent="0" defTabSz="914400" eaLnBrk="0" fontAlgn="base" latinLnBrk="0" hangingPunct="0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>
                  <a:srgbClr val="3C58A1"/>
                </a:buClr>
                <a:buSzPct val="80000"/>
                <a:buFont typeface="Wingdings" pitchFamily="2" charset="2"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lavika" panose="02000000000000000000"/>
              </a:endParaRPr>
            </a:p>
          </p:txBody>
        </p:sp>
      </p:grpSp>
      <p:sp>
        <p:nvSpPr>
          <p:cNvPr id="1076" name="Freeform 12">
            <a:extLst>
              <a:ext uri="{FF2B5EF4-FFF2-40B4-BE49-F238E27FC236}">
                <a16:creationId xmlns:a16="http://schemas.microsoft.com/office/drawing/2014/main" id="{CA4A6617-C4F2-828E-41F5-E849B47EE3E4}"/>
              </a:ext>
            </a:extLst>
          </p:cNvPr>
          <p:cNvSpPr>
            <a:spLocks noChangeAspect="1"/>
          </p:cNvSpPr>
          <p:nvPr>
            <p:custDataLst>
              <p:tags r:id="rId23"/>
            </p:custDataLst>
          </p:nvPr>
        </p:nvSpPr>
        <p:spPr bwMode="auto">
          <a:xfrm>
            <a:off x="5339816" y="2641659"/>
            <a:ext cx="279409" cy="264387"/>
          </a:xfrm>
          <a:custGeom>
            <a:avLst/>
            <a:gdLst>
              <a:gd name="T0" fmla="*/ 561 w 573"/>
              <a:gd name="T1" fmla="*/ 0 h 543"/>
              <a:gd name="T2" fmla="*/ 167 w 573"/>
              <a:gd name="T3" fmla="*/ 396 h 543"/>
              <a:gd name="T4" fmla="*/ 86 w 573"/>
              <a:gd name="T5" fmla="*/ 282 h 543"/>
              <a:gd name="T6" fmla="*/ 0 w 573"/>
              <a:gd name="T7" fmla="*/ 330 h 543"/>
              <a:gd name="T8" fmla="*/ 128 w 573"/>
              <a:gd name="T9" fmla="*/ 543 h 543"/>
              <a:gd name="T10" fmla="*/ 215 w 573"/>
              <a:gd name="T11" fmla="*/ 482 h 543"/>
              <a:gd name="T12" fmla="*/ 573 w 573"/>
              <a:gd name="T13" fmla="*/ 18 h 543"/>
              <a:gd name="T14" fmla="*/ 561 w 573"/>
              <a:gd name="T15" fmla="*/ 0 h 543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573"/>
              <a:gd name="T25" fmla="*/ 0 h 543"/>
              <a:gd name="T26" fmla="*/ 573 w 573"/>
              <a:gd name="T27" fmla="*/ 543 h 543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573" h="543">
                <a:moveTo>
                  <a:pt x="561" y="0"/>
                </a:moveTo>
                <a:cubicBezTo>
                  <a:pt x="350" y="120"/>
                  <a:pt x="212" y="317"/>
                  <a:pt x="167" y="396"/>
                </a:cubicBezTo>
                <a:cubicBezTo>
                  <a:pt x="132" y="318"/>
                  <a:pt x="110" y="290"/>
                  <a:pt x="86" y="282"/>
                </a:cubicBezTo>
                <a:cubicBezTo>
                  <a:pt x="32" y="285"/>
                  <a:pt x="9" y="321"/>
                  <a:pt x="0" y="330"/>
                </a:cubicBezTo>
                <a:cubicBezTo>
                  <a:pt x="62" y="348"/>
                  <a:pt x="119" y="504"/>
                  <a:pt x="128" y="543"/>
                </a:cubicBezTo>
                <a:cubicBezTo>
                  <a:pt x="171" y="512"/>
                  <a:pt x="215" y="482"/>
                  <a:pt x="215" y="482"/>
                </a:cubicBezTo>
                <a:cubicBezTo>
                  <a:pt x="251" y="405"/>
                  <a:pt x="359" y="200"/>
                  <a:pt x="573" y="18"/>
                </a:cubicBezTo>
                <a:cubicBezTo>
                  <a:pt x="573" y="18"/>
                  <a:pt x="567" y="9"/>
                  <a:pt x="561" y="0"/>
                </a:cubicBezTo>
                <a:close/>
              </a:path>
            </a:pathLst>
          </a:custGeom>
          <a:solidFill>
            <a:srgbClr val="2C973E"/>
          </a:solidFill>
          <a:ln w="3175">
            <a:noFill/>
            <a:prstDash val="dash"/>
            <a:round/>
            <a:headEnd/>
            <a:tailEnd/>
          </a:ln>
          <a:effectLst/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Klavika" panose="02000000000000000000"/>
            </a:endParaRPr>
          </a:p>
        </p:txBody>
      </p:sp>
      <p:sp>
        <p:nvSpPr>
          <p:cNvPr id="1077" name="Freeform 12">
            <a:extLst>
              <a:ext uri="{FF2B5EF4-FFF2-40B4-BE49-F238E27FC236}">
                <a16:creationId xmlns:a16="http://schemas.microsoft.com/office/drawing/2014/main" id="{6D39317B-FA5F-4DE4-2105-E6B76267430D}"/>
              </a:ext>
            </a:extLst>
          </p:cNvPr>
          <p:cNvSpPr>
            <a:spLocks noChangeAspect="1"/>
          </p:cNvSpPr>
          <p:nvPr>
            <p:custDataLst>
              <p:tags r:id="rId24"/>
            </p:custDataLst>
          </p:nvPr>
        </p:nvSpPr>
        <p:spPr bwMode="auto">
          <a:xfrm>
            <a:off x="5339816" y="2878817"/>
            <a:ext cx="279409" cy="264387"/>
          </a:xfrm>
          <a:custGeom>
            <a:avLst/>
            <a:gdLst>
              <a:gd name="T0" fmla="*/ 561 w 573"/>
              <a:gd name="T1" fmla="*/ 0 h 543"/>
              <a:gd name="T2" fmla="*/ 167 w 573"/>
              <a:gd name="T3" fmla="*/ 396 h 543"/>
              <a:gd name="T4" fmla="*/ 86 w 573"/>
              <a:gd name="T5" fmla="*/ 282 h 543"/>
              <a:gd name="T6" fmla="*/ 0 w 573"/>
              <a:gd name="T7" fmla="*/ 330 h 543"/>
              <a:gd name="T8" fmla="*/ 128 w 573"/>
              <a:gd name="T9" fmla="*/ 543 h 543"/>
              <a:gd name="T10" fmla="*/ 215 w 573"/>
              <a:gd name="T11" fmla="*/ 482 h 543"/>
              <a:gd name="T12" fmla="*/ 573 w 573"/>
              <a:gd name="T13" fmla="*/ 18 h 543"/>
              <a:gd name="T14" fmla="*/ 561 w 573"/>
              <a:gd name="T15" fmla="*/ 0 h 543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573"/>
              <a:gd name="T25" fmla="*/ 0 h 543"/>
              <a:gd name="T26" fmla="*/ 573 w 573"/>
              <a:gd name="T27" fmla="*/ 543 h 543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573" h="543">
                <a:moveTo>
                  <a:pt x="561" y="0"/>
                </a:moveTo>
                <a:cubicBezTo>
                  <a:pt x="350" y="120"/>
                  <a:pt x="212" y="317"/>
                  <a:pt x="167" y="396"/>
                </a:cubicBezTo>
                <a:cubicBezTo>
                  <a:pt x="132" y="318"/>
                  <a:pt x="110" y="290"/>
                  <a:pt x="86" y="282"/>
                </a:cubicBezTo>
                <a:cubicBezTo>
                  <a:pt x="32" y="285"/>
                  <a:pt x="9" y="321"/>
                  <a:pt x="0" y="330"/>
                </a:cubicBezTo>
                <a:cubicBezTo>
                  <a:pt x="62" y="348"/>
                  <a:pt x="119" y="504"/>
                  <a:pt x="128" y="543"/>
                </a:cubicBezTo>
                <a:cubicBezTo>
                  <a:pt x="171" y="512"/>
                  <a:pt x="215" y="482"/>
                  <a:pt x="215" y="482"/>
                </a:cubicBezTo>
                <a:cubicBezTo>
                  <a:pt x="251" y="405"/>
                  <a:pt x="359" y="200"/>
                  <a:pt x="573" y="18"/>
                </a:cubicBezTo>
                <a:cubicBezTo>
                  <a:pt x="573" y="18"/>
                  <a:pt x="567" y="9"/>
                  <a:pt x="561" y="0"/>
                </a:cubicBezTo>
                <a:close/>
              </a:path>
            </a:pathLst>
          </a:custGeom>
          <a:solidFill>
            <a:srgbClr val="2C973E"/>
          </a:solidFill>
          <a:ln w="3175">
            <a:noFill/>
            <a:prstDash val="dash"/>
            <a:round/>
            <a:headEnd/>
            <a:tailEnd/>
          </a:ln>
          <a:effectLst/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Klavika" panose="02000000000000000000"/>
            </a:endParaRPr>
          </a:p>
        </p:txBody>
      </p:sp>
      <p:grpSp>
        <p:nvGrpSpPr>
          <p:cNvPr id="1078" name="Group 5">
            <a:extLst>
              <a:ext uri="{FF2B5EF4-FFF2-40B4-BE49-F238E27FC236}">
                <a16:creationId xmlns:a16="http://schemas.microsoft.com/office/drawing/2014/main" id="{450E602F-483C-4CFA-7699-DB576C19B4F5}"/>
              </a:ext>
            </a:extLst>
          </p:cNvPr>
          <p:cNvGrpSpPr>
            <a:grpSpLocks noChangeAspect="1"/>
          </p:cNvGrpSpPr>
          <p:nvPr>
            <p:custDataLst>
              <p:tags r:id="rId25"/>
            </p:custDataLst>
          </p:nvPr>
        </p:nvGrpSpPr>
        <p:grpSpPr bwMode="auto">
          <a:xfrm>
            <a:off x="5350344" y="3350163"/>
            <a:ext cx="258351" cy="270328"/>
            <a:chOff x="1117" y="1342"/>
            <a:chExt cx="2260" cy="2366"/>
          </a:xfrm>
          <a:solidFill>
            <a:srgbClr val="FF0000"/>
          </a:solidFill>
        </p:grpSpPr>
        <p:sp>
          <p:nvSpPr>
            <p:cNvPr id="1079" name="Freeform 6">
              <a:extLst>
                <a:ext uri="{FF2B5EF4-FFF2-40B4-BE49-F238E27FC236}">
                  <a16:creationId xmlns:a16="http://schemas.microsoft.com/office/drawing/2014/main" id="{EA1EAD67-BF40-D8E5-099E-7C4125D26BDD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7" y="1342"/>
              <a:ext cx="2260" cy="2315"/>
            </a:xfrm>
            <a:custGeom>
              <a:avLst/>
              <a:gdLst>
                <a:gd name="T0" fmla="*/ 30 w 2260"/>
                <a:gd name="T1" fmla="*/ 181 h 2315"/>
                <a:gd name="T2" fmla="*/ 743 w 2260"/>
                <a:gd name="T3" fmla="*/ 1186 h 2315"/>
                <a:gd name="T4" fmla="*/ 1838 w 2260"/>
                <a:gd name="T5" fmla="*/ 2154 h 2315"/>
                <a:gd name="T6" fmla="*/ 1935 w 2260"/>
                <a:gd name="T7" fmla="*/ 2064 h 2315"/>
                <a:gd name="T8" fmla="*/ 2025 w 2260"/>
                <a:gd name="T9" fmla="*/ 2079 h 2315"/>
                <a:gd name="T10" fmla="*/ 2100 w 2260"/>
                <a:gd name="T11" fmla="*/ 2004 h 2315"/>
                <a:gd name="T12" fmla="*/ 2228 w 2260"/>
                <a:gd name="T13" fmla="*/ 1989 h 2315"/>
                <a:gd name="T14" fmla="*/ 2220 w 2260"/>
                <a:gd name="T15" fmla="*/ 1936 h 2315"/>
                <a:gd name="T16" fmla="*/ 1125 w 2260"/>
                <a:gd name="T17" fmla="*/ 1044 h 2315"/>
                <a:gd name="T18" fmla="*/ 540 w 2260"/>
                <a:gd name="T19" fmla="*/ 346 h 2315"/>
                <a:gd name="T20" fmla="*/ 360 w 2260"/>
                <a:gd name="T21" fmla="*/ 24 h 2315"/>
                <a:gd name="T22" fmla="*/ 315 w 2260"/>
                <a:gd name="T23" fmla="*/ 16 h 2315"/>
                <a:gd name="T24" fmla="*/ 263 w 2260"/>
                <a:gd name="T25" fmla="*/ 76 h 2315"/>
                <a:gd name="T26" fmla="*/ 270 w 2260"/>
                <a:gd name="T27" fmla="*/ 159 h 2315"/>
                <a:gd name="T28" fmla="*/ 195 w 2260"/>
                <a:gd name="T29" fmla="*/ 144 h 2315"/>
                <a:gd name="T30" fmla="*/ 143 w 2260"/>
                <a:gd name="T31" fmla="*/ 204 h 2315"/>
                <a:gd name="T32" fmla="*/ 30 w 2260"/>
                <a:gd name="T33" fmla="*/ 181 h 2315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w 2260"/>
                <a:gd name="T52" fmla="*/ 0 h 2315"/>
                <a:gd name="T53" fmla="*/ 2260 w 2260"/>
                <a:gd name="T54" fmla="*/ 2315 h 2315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T51" t="T52" r="T53" b="T54"/>
              <a:pathLst>
                <a:path w="2260" h="2315">
                  <a:moveTo>
                    <a:pt x="30" y="181"/>
                  </a:moveTo>
                  <a:cubicBezTo>
                    <a:pt x="0" y="361"/>
                    <a:pt x="442" y="857"/>
                    <a:pt x="743" y="1186"/>
                  </a:cubicBezTo>
                  <a:cubicBezTo>
                    <a:pt x="1044" y="1515"/>
                    <a:pt x="1639" y="2008"/>
                    <a:pt x="1838" y="2154"/>
                  </a:cubicBezTo>
                  <a:cubicBezTo>
                    <a:pt x="2051" y="2315"/>
                    <a:pt x="1875" y="2084"/>
                    <a:pt x="1935" y="2064"/>
                  </a:cubicBezTo>
                  <a:cubicBezTo>
                    <a:pt x="1966" y="2052"/>
                    <a:pt x="1998" y="2089"/>
                    <a:pt x="2025" y="2079"/>
                  </a:cubicBezTo>
                  <a:cubicBezTo>
                    <a:pt x="2052" y="2069"/>
                    <a:pt x="2066" y="2019"/>
                    <a:pt x="2100" y="2004"/>
                  </a:cubicBezTo>
                  <a:cubicBezTo>
                    <a:pt x="2116" y="1995"/>
                    <a:pt x="2228" y="1989"/>
                    <a:pt x="2228" y="1989"/>
                  </a:cubicBezTo>
                  <a:cubicBezTo>
                    <a:pt x="2239" y="1954"/>
                    <a:pt x="2260" y="1950"/>
                    <a:pt x="2220" y="1936"/>
                  </a:cubicBezTo>
                  <a:cubicBezTo>
                    <a:pt x="2010" y="1745"/>
                    <a:pt x="1404" y="1343"/>
                    <a:pt x="1125" y="1044"/>
                  </a:cubicBezTo>
                  <a:cubicBezTo>
                    <a:pt x="845" y="779"/>
                    <a:pt x="639" y="464"/>
                    <a:pt x="540" y="346"/>
                  </a:cubicBezTo>
                  <a:cubicBezTo>
                    <a:pt x="413" y="176"/>
                    <a:pt x="390" y="50"/>
                    <a:pt x="360" y="24"/>
                  </a:cubicBezTo>
                  <a:cubicBezTo>
                    <a:pt x="355" y="33"/>
                    <a:pt x="325" y="13"/>
                    <a:pt x="315" y="16"/>
                  </a:cubicBezTo>
                  <a:cubicBezTo>
                    <a:pt x="284" y="0"/>
                    <a:pt x="296" y="87"/>
                    <a:pt x="263" y="76"/>
                  </a:cubicBezTo>
                  <a:cubicBezTo>
                    <a:pt x="243" y="106"/>
                    <a:pt x="296" y="133"/>
                    <a:pt x="270" y="159"/>
                  </a:cubicBezTo>
                  <a:cubicBezTo>
                    <a:pt x="209" y="220"/>
                    <a:pt x="248" y="152"/>
                    <a:pt x="195" y="144"/>
                  </a:cubicBezTo>
                  <a:cubicBezTo>
                    <a:pt x="171" y="144"/>
                    <a:pt x="170" y="198"/>
                    <a:pt x="143" y="204"/>
                  </a:cubicBezTo>
                  <a:cubicBezTo>
                    <a:pt x="116" y="210"/>
                    <a:pt x="54" y="186"/>
                    <a:pt x="30" y="18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pPr marL="0" marR="0" lvl="0" indent="0" defTabSz="914400" eaLnBrk="0" fontAlgn="base" latinLnBrk="0" hangingPunct="0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>
                  <a:srgbClr val="3C58A1"/>
                </a:buClr>
                <a:buSzPct val="80000"/>
                <a:buFont typeface="Wingdings" pitchFamily="2" charset="2"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lavika" panose="02000000000000000000"/>
              </a:endParaRPr>
            </a:p>
          </p:txBody>
        </p:sp>
        <p:sp>
          <p:nvSpPr>
            <p:cNvPr id="1080" name="Freeform 7">
              <a:extLst>
                <a:ext uri="{FF2B5EF4-FFF2-40B4-BE49-F238E27FC236}">
                  <a16:creationId xmlns:a16="http://schemas.microsoft.com/office/drawing/2014/main" id="{812D122E-B6CA-FCF9-AEF7-503EEB3B3A95}"/>
                </a:ext>
              </a:extLst>
            </p:cNvPr>
            <p:cNvSpPr>
              <a:spLocks/>
            </p:cNvSpPr>
            <p:nvPr/>
          </p:nvSpPr>
          <p:spPr bwMode="auto">
            <a:xfrm flipV="1">
              <a:off x="1177" y="1394"/>
              <a:ext cx="1922" cy="2314"/>
            </a:xfrm>
            <a:custGeom>
              <a:avLst/>
              <a:gdLst>
                <a:gd name="T0" fmla="*/ 26 w 2087"/>
                <a:gd name="T1" fmla="*/ 206 h 2502"/>
                <a:gd name="T2" fmla="*/ 483 w 2087"/>
                <a:gd name="T3" fmla="*/ 1175 h 2502"/>
                <a:gd name="T4" fmla="*/ 1412 w 2087"/>
                <a:gd name="T5" fmla="*/ 2002 h 2502"/>
                <a:gd name="T6" fmla="*/ 1495 w 2087"/>
                <a:gd name="T7" fmla="*/ 1926 h 2502"/>
                <a:gd name="T8" fmla="*/ 1571 w 2087"/>
                <a:gd name="T9" fmla="*/ 1939 h 2502"/>
                <a:gd name="T10" fmla="*/ 1635 w 2087"/>
                <a:gd name="T11" fmla="*/ 1874 h 2502"/>
                <a:gd name="T12" fmla="*/ 1743 w 2087"/>
                <a:gd name="T13" fmla="*/ 1861 h 2502"/>
                <a:gd name="T14" fmla="*/ 1736 w 2087"/>
                <a:gd name="T15" fmla="*/ 1816 h 2502"/>
                <a:gd name="T16" fmla="*/ 375 w 2087"/>
                <a:gd name="T17" fmla="*/ 232 h 2502"/>
                <a:gd name="T18" fmla="*/ 324 w 2087"/>
                <a:gd name="T19" fmla="*/ 58 h 2502"/>
                <a:gd name="T20" fmla="*/ 274 w 2087"/>
                <a:gd name="T21" fmla="*/ 97 h 2502"/>
                <a:gd name="T22" fmla="*/ 248 w 2087"/>
                <a:gd name="T23" fmla="*/ 104 h 2502"/>
                <a:gd name="T24" fmla="*/ 166 w 2087"/>
                <a:gd name="T25" fmla="*/ 65 h 2502"/>
                <a:gd name="T26" fmla="*/ 127 w 2087"/>
                <a:gd name="T27" fmla="*/ 148 h 2502"/>
                <a:gd name="T28" fmla="*/ 44 w 2087"/>
                <a:gd name="T29" fmla="*/ 174 h 2502"/>
                <a:gd name="T30" fmla="*/ 26 w 2087"/>
                <a:gd name="T31" fmla="*/ 206 h 2502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2087"/>
                <a:gd name="T49" fmla="*/ 0 h 2502"/>
                <a:gd name="T50" fmla="*/ 2087 w 2087"/>
                <a:gd name="T51" fmla="*/ 2502 h 2502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2087" h="2502">
                  <a:moveTo>
                    <a:pt x="30" y="241"/>
                  </a:moveTo>
                  <a:cubicBezTo>
                    <a:pt x="0" y="421"/>
                    <a:pt x="297" y="1023"/>
                    <a:pt x="570" y="1373"/>
                  </a:cubicBezTo>
                  <a:cubicBezTo>
                    <a:pt x="843" y="1723"/>
                    <a:pt x="1466" y="2195"/>
                    <a:pt x="1665" y="2341"/>
                  </a:cubicBezTo>
                  <a:cubicBezTo>
                    <a:pt x="1878" y="2502"/>
                    <a:pt x="1702" y="2271"/>
                    <a:pt x="1762" y="2251"/>
                  </a:cubicBezTo>
                  <a:cubicBezTo>
                    <a:pt x="1793" y="2239"/>
                    <a:pt x="1825" y="2276"/>
                    <a:pt x="1852" y="2266"/>
                  </a:cubicBezTo>
                  <a:cubicBezTo>
                    <a:pt x="1879" y="2256"/>
                    <a:pt x="1893" y="2206"/>
                    <a:pt x="1927" y="2191"/>
                  </a:cubicBezTo>
                  <a:cubicBezTo>
                    <a:pt x="1943" y="2182"/>
                    <a:pt x="2055" y="2176"/>
                    <a:pt x="2055" y="2176"/>
                  </a:cubicBezTo>
                  <a:cubicBezTo>
                    <a:pt x="2066" y="2141"/>
                    <a:pt x="2087" y="2137"/>
                    <a:pt x="2047" y="2123"/>
                  </a:cubicBezTo>
                  <a:cubicBezTo>
                    <a:pt x="1778" y="1806"/>
                    <a:pt x="682" y="1298"/>
                    <a:pt x="442" y="271"/>
                  </a:cubicBezTo>
                  <a:cubicBezTo>
                    <a:pt x="427" y="204"/>
                    <a:pt x="420" y="126"/>
                    <a:pt x="382" y="68"/>
                  </a:cubicBezTo>
                  <a:cubicBezTo>
                    <a:pt x="360" y="0"/>
                    <a:pt x="330" y="97"/>
                    <a:pt x="322" y="113"/>
                  </a:cubicBezTo>
                  <a:cubicBezTo>
                    <a:pt x="317" y="122"/>
                    <a:pt x="302" y="118"/>
                    <a:pt x="292" y="121"/>
                  </a:cubicBezTo>
                  <a:cubicBezTo>
                    <a:pt x="261" y="105"/>
                    <a:pt x="228" y="87"/>
                    <a:pt x="195" y="76"/>
                  </a:cubicBezTo>
                  <a:cubicBezTo>
                    <a:pt x="175" y="106"/>
                    <a:pt x="176" y="147"/>
                    <a:pt x="150" y="173"/>
                  </a:cubicBezTo>
                  <a:cubicBezTo>
                    <a:pt x="89" y="234"/>
                    <a:pt x="156" y="151"/>
                    <a:pt x="52" y="203"/>
                  </a:cubicBezTo>
                  <a:cubicBezTo>
                    <a:pt x="39" y="210"/>
                    <a:pt x="37" y="228"/>
                    <a:pt x="30" y="24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pPr marL="0" marR="0" lvl="0" indent="0" defTabSz="914400" eaLnBrk="0" fontAlgn="base" latinLnBrk="0" hangingPunct="0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>
                  <a:srgbClr val="3C58A1"/>
                </a:buClr>
                <a:buSzPct val="80000"/>
                <a:buFont typeface="Wingdings" pitchFamily="2" charset="2"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lavika" panose="02000000000000000000"/>
              </a:endParaRPr>
            </a:p>
          </p:txBody>
        </p:sp>
      </p:grpSp>
      <p:grpSp>
        <p:nvGrpSpPr>
          <p:cNvPr id="1081" name="Group 5">
            <a:extLst>
              <a:ext uri="{FF2B5EF4-FFF2-40B4-BE49-F238E27FC236}">
                <a16:creationId xmlns:a16="http://schemas.microsoft.com/office/drawing/2014/main" id="{239A7AF5-5C7B-EDFB-4723-FB4ADD938980}"/>
              </a:ext>
            </a:extLst>
          </p:cNvPr>
          <p:cNvGrpSpPr>
            <a:grpSpLocks noChangeAspect="1"/>
          </p:cNvGrpSpPr>
          <p:nvPr>
            <p:custDataLst>
              <p:tags r:id="rId26"/>
            </p:custDataLst>
          </p:nvPr>
        </p:nvGrpSpPr>
        <p:grpSpPr bwMode="auto">
          <a:xfrm>
            <a:off x="5350344" y="3113005"/>
            <a:ext cx="258351" cy="270328"/>
            <a:chOff x="1117" y="1342"/>
            <a:chExt cx="2260" cy="2366"/>
          </a:xfrm>
          <a:solidFill>
            <a:srgbClr val="FF0000"/>
          </a:solidFill>
        </p:grpSpPr>
        <p:sp>
          <p:nvSpPr>
            <p:cNvPr id="1082" name="Freeform 6">
              <a:extLst>
                <a:ext uri="{FF2B5EF4-FFF2-40B4-BE49-F238E27FC236}">
                  <a16:creationId xmlns:a16="http://schemas.microsoft.com/office/drawing/2014/main" id="{A42A00A1-3E14-9201-41D0-92DAD0234C7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7" y="1342"/>
              <a:ext cx="2260" cy="2315"/>
            </a:xfrm>
            <a:custGeom>
              <a:avLst/>
              <a:gdLst>
                <a:gd name="T0" fmla="*/ 30 w 2260"/>
                <a:gd name="T1" fmla="*/ 181 h 2315"/>
                <a:gd name="T2" fmla="*/ 743 w 2260"/>
                <a:gd name="T3" fmla="*/ 1186 h 2315"/>
                <a:gd name="T4" fmla="*/ 1838 w 2260"/>
                <a:gd name="T5" fmla="*/ 2154 h 2315"/>
                <a:gd name="T6" fmla="*/ 1935 w 2260"/>
                <a:gd name="T7" fmla="*/ 2064 h 2315"/>
                <a:gd name="T8" fmla="*/ 2025 w 2260"/>
                <a:gd name="T9" fmla="*/ 2079 h 2315"/>
                <a:gd name="T10" fmla="*/ 2100 w 2260"/>
                <a:gd name="T11" fmla="*/ 2004 h 2315"/>
                <a:gd name="T12" fmla="*/ 2228 w 2260"/>
                <a:gd name="T13" fmla="*/ 1989 h 2315"/>
                <a:gd name="T14" fmla="*/ 2220 w 2260"/>
                <a:gd name="T15" fmla="*/ 1936 h 2315"/>
                <a:gd name="T16" fmla="*/ 1125 w 2260"/>
                <a:gd name="T17" fmla="*/ 1044 h 2315"/>
                <a:gd name="T18" fmla="*/ 540 w 2260"/>
                <a:gd name="T19" fmla="*/ 346 h 2315"/>
                <a:gd name="T20" fmla="*/ 360 w 2260"/>
                <a:gd name="T21" fmla="*/ 24 h 2315"/>
                <a:gd name="T22" fmla="*/ 315 w 2260"/>
                <a:gd name="T23" fmla="*/ 16 h 2315"/>
                <a:gd name="T24" fmla="*/ 263 w 2260"/>
                <a:gd name="T25" fmla="*/ 76 h 2315"/>
                <a:gd name="T26" fmla="*/ 270 w 2260"/>
                <a:gd name="T27" fmla="*/ 159 h 2315"/>
                <a:gd name="T28" fmla="*/ 195 w 2260"/>
                <a:gd name="T29" fmla="*/ 144 h 2315"/>
                <a:gd name="T30" fmla="*/ 143 w 2260"/>
                <a:gd name="T31" fmla="*/ 204 h 2315"/>
                <a:gd name="T32" fmla="*/ 30 w 2260"/>
                <a:gd name="T33" fmla="*/ 181 h 2315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w 2260"/>
                <a:gd name="T52" fmla="*/ 0 h 2315"/>
                <a:gd name="T53" fmla="*/ 2260 w 2260"/>
                <a:gd name="T54" fmla="*/ 2315 h 2315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T51" t="T52" r="T53" b="T54"/>
              <a:pathLst>
                <a:path w="2260" h="2315">
                  <a:moveTo>
                    <a:pt x="30" y="181"/>
                  </a:moveTo>
                  <a:cubicBezTo>
                    <a:pt x="0" y="361"/>
                    <a:pt x="442" y="857"/>
                    <a:pt x="743" y="1186"/>
                  </a:cubicBezTo>
                  <a:cubicBezTo>
                    <a:pt x="1044" y="1515"/>
                    <a:pt x="1639" y="2008"/>
                    <a:pt x="1838" y="2154"/>
                  </a:cubicBezTo>
                  <a:cubicBezTo>
                    <a:pt x="2051" y="2315"/>
                    <a:pt x="1875" y="2084"/>
                    <a:pt x="1935" y="2064"/>
                  </a:cubicBezTo>
                  <a:cubicBezTo>
                    <a:pt x="1966" y="2052"/>
                    <a:pt x="1998" y="2089"/>
                    <a:pt x="2025" y="2079"/>
                  </a:cubicBezTo>
                  <a:cubicBezTo>
                    <a:pt x="2052" y="2069"/>
                    <a:pt x="2066" y="2019"/>
                    <a:pt x="2100" y="2004"/>
                  </a:cubicBezTo>
                  <a:cubicBezTo>
                    <a:pt x="2116" y="1995"/>
                    <a:pt x="2228" y="1989"/>
                    <a:pt x="2228" y="1989"/>
                  </a:cubicBezTo>
                  <a:cubicBezTo>
                    <a:pt x="2239" y="1954"/>
                    <a:pt x="2260" y="1950"/>
                    <a:pt x="2220" y="1936"/>
                  </a:cubicBezTo>
                  <a:cubicBezTo>
                    <a:pt x="2010" y="1745"/>
                    <a:pt x="1404" y="1343"/>
                    <a:pt x="1125" y="1044"/>
                  </a:cubicBezTo>
                  <a:cubicBezTo>
                    <a:pt x="845" y="779"/>
                    <a:pt x="639" y="464"/>
                    <a:pt x="540" y="346"/>
                  </a:cubicBezTo>
                  <a:cubicBezTo>
                    <a:pt x="413" y="176"/>
                    <a:pt x="390" y="50"/>
                    <a:pt x="360" y="24"/>
                  </a:cubicBezTo>
                  <a:cubicBezTo>
                    <a:pt x="355" y="33"/>
                    <a:pt x="325" y="13"/>
                    <a:pt x="315" y="16"/>
                  </a:cubicBezTo>
                  <a:cubicBezTo>
                    <a:pt x="284" y="0"/>
                    <a:pt x="296" y="87"/>
                    <a:pt x="263" y="76"/>
                  </a:cubicBezTo>
                  <a:cubicBezTo>
                    <a:pt x="243" y="106"/>
                    <a:pt x="296" y="133"/>
                    <a:pt x="270" y="159"/>
                  </a:cubicBezTo>
                  <a:cubicBezTo>
                    <a:pt x="209" y="220"/>
                    <a:pt x="248" y="152"/>
                    <a:pt x="195" y="144"/>
                  </a:cubicBezTo>
                  <a:cubicBezTo>
                    <a:pt x="171" y="144"/>
                    <a:pt x="170" y="198"/>
                    <a:pt x="143" y="204"/>
                  </a:cubicBezTo>
                  <a:cubicBezTo>
                    <a:pt x="116" y="210"/>
                    <a:pt x="54" y="186"/>
                    <a:pt x="30" y="18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pPr marL="0" marR="0" lvl="0" indent="0" defTabSz="914400" eaLnBrk="0" fontAlgn="base" latinLnBrk="0" hangingPunct="0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>
                  <a:srgbClr val="3C58A1"/>
                </a:buClr>
                <a:buSzPct val="80000"/>
                <a:buFont typeface="Wingdings" pitchFamily="2" charset="2"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lavika" panose="02000000000000000000"/>
              </a:endParaRPr>
            </a:p>
          </p:txBody>
        </p:sp>
        <p:sp>
          <p:nvSpPr>
            <p:cNvPr id="1083" name="Freeform 7">
              <a:extLst>
                <a:ext uri="{FF2B5EF4-FFF2-40B4-BE49-F238E27FC236}">
                  <a16:creationId xmlns:a16="http://schemas.microsoft.com/office/drawing/2014/main" id="{2ABFDA4E-3B25-5041-AC10-1AFEE0BD58BC}"/>
                </a:ext>
              </a:extLst>
            </p:cNvPr>
            <p:cNvSpPr>
              <a:spLocks/>
            </p:cNvSpPr>
            <p:nvPr/>
          </p:nvSpPr>
          <p:spPr bwMode="auto">
            <a:xfrm flipV="1">
              <a:off x="1177" y="1394"/>
              <a:ext cx="1922" cy="2314"/>
            </a:xfrm>
            <a:custGeom>
              <a:avLst/>
              <a:gdLst>
                <a:gd name="T0" fmla="*/ 26 w 2087"/>
                <a:gd name="T1" fmla="*/ 206 h 2502"/>
                <a:gd name="T2" fmla="*/ 483 w 2087"/>
                <a:gd name="T3" fmla="*/ 1175 h 2502"/>
                <a:gd name="T4" fmla="*/ 1412 w 2087"/>
                <a:gd name="T5" fmla="*/ 2002 h 2502"/>
                <a:gd name="T6" fmla="*/ 1495 w 2087"/>
                <a:gd name="T7" fmla="*/ 1926 h 2502"/>
                <a:gd name="T8" fmla="*/ 1571 w 2087"/>
                <a:gd name="T9" fmla="*/ 1939 h 2502"/>
                <a:gd name="T10" fmla="*/ 1635 w 2087"/>
                <a:gd name="T11" fmla="*/ 1874 h 2502"/>
                <a:gd name="T12" fmla="*/ 1743 w 2087"/>
                <a:gd name="T13" fmla="*/ 1861 h 2502"/>
                <a:gd name="T14" fmla="*/ 1736 w 2087"/>
                <a:gd name="T15" fmla="*/ 1816 h 2502"/>
                <a:gd name="T16" fmla="*/ 375 w 2087"/>
                <a:gd name="T17" fmla="*/ 232 h 2502"/>
                <a:gd name="T18" fmla="*/ 324 w 2087"/>
                <a:gd name="T19" fmla="*/ 58 h 2502"/>
                <a:gd name="T20" fmla="*/ 274 w 2087"/>
                <a:gd name="T21" fmla="*/ 97 h 2502"/>
                <a:gd name="T22" fmla="*/ 248 w 2087"/>
                <a:gd name="T23" fmla="*/ 104 h 2502"/>
                <a:gd name="T24" fmla="*/ 166 w 2087"/>
                <a:gd name="T25" fmla="*/ 65 h 2502"/>
                <a:gd name="T26" fmla="*/ 127 w 2087"/>
                <a:gd name="T27" fmla="*/ 148 h 2502"/>
                <a:gd name="T28" fmla="*/ 44 w 2087"/>
                <a:gd name="T29" fmla="*/ 174 h 2502"/>
                <a:gd name="T30" fmla="*/ 26 w 2087"/>
                <a:gd name="T31" fmla="*/ 206 h 2502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2087"/>
                <a:gd name="T49" fmla="*/ 0 h 2502"/>
                <a:gd name="T50" fmla="*/ 2087 w 2087"/>
                <a:gd name="T51" fmla="*/ 2502 h 2502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2087" h="2502">
                  <a:moveTo>
                    <a:pt x="30" y="241"/>
                  </a:moveTo>
                  <a:cubicBezTo>
                    <a:pt x="0" y="421"/>
                    <a:pt x="297" y="1023"/>
                    <a:pt x="570" y="1373"/>
                  </a:cubicBezTo>
                  <a:cubicBezTo>
                    <a:pt x="843" y="1723"/>
                    <a:pt x="1466" y="2195"/>
                    <a:pt x="1665" y="2341"/>
                  </a:cubicBezTo>
                  <a:cubicBezTo>
                    <a:pt x="1878" y="2502"/>
                    <a:pt x="1702" y="2271"/>
                    <a:pt x="1762" y="2251"/>
                  </a:cubicBezTo>
                  <a:cubicBezTo>
                    <a:pt x="1793" y="2239"/>
                    <a:pt x="1825" y="2276"/>
                    <a:pt x="1852" y="2266"/>
                  </a:cubicBezTo>
                  <a:cubicBezTo>
                    <a:pt x="1879" y="2256"/>
                    <a:pt x="1893" y="2206"/>
                    <a:pt x="1927" y="2191"/>
                  </a:cubicBezTo>
                  <a:cubicBezTo>
                    <a:pt x="1943" y="2182"/>
                    <a:pt x="2055" y="2176"/>
                    <a:pt x="2055" y="2176"/>
                  </a:cubicBezTo>
                  <a:cubicBezTo>
                    <a:pt x="2066" y="2141"/>
                    <a:pt x="2087" y="2137"/>
                    <a:pt x="2047" y="2123"/>
                  </a:cubicBezTo>
                  <a:cubicBezTo>
                    <a:pt x="1778" y="1806"/>
                    <a:pt x="682" y="1298"/>
                    <a:pt x="442" y="271"/>
                  </a:cubicBezTo>
                  <a:cubicBezTo>
                    <a:pt x="427" y="204"/>
                    <a:pt x="420" y="126"/>
                    <a:pt x="382" y="68"/>
                  </a:cubicBezTo>
                  <a:cubicBezTo>
                    <a:pt x="360" y="0"/>
                    <a:pt x="330" y="97"/>
                    <a:pt x="322" y="113"/>
                  </a:cubicBezTo>
                  <a:cubicBezTo>
                    <a:pt x="317" y="122"/>
                    <a:pt x="302" y="118"/>
                    <a:pt x="292" y="121"/>
                  </a:cubicBezTo>
                  <a:cubicBezTo>
                    <a:pt x="261" y="105"/>
                    <a:pt x="228" y="87"/>
                    <a:pt x="195" y="76"/>
                  </a:cubicBezTo>
                  <a:cubicBezTo>
                    <a:pt x="175" y="106"/>
                    <a:pt x="176" y="147"/>
                    <a:pt x="150" y="173"/>
                  </a:cubicBezTo>
                  <a:cubicBezTo>
                    <a:pt x="89" y="234"/>
                    <a:pt x="156" y="151"/>
                    <a:pt x="52" y="203"/>
                  </a:cubicBezTo>
                  <a:cubicBezTo>
                    <a:pt x="39" y="210"/>
                    <a:pt x="37" y="228"/>
                    <a:pt x="30" y="24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pPr marL="0" marR="0" lvl="0" indent="0" defTabSz="914400" eaLnBrk="0" fontAlgn="base" latinLnBrk="0" hangingPunct="0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>
                  <a:srgbClr val="3C58A1"/>
                </a:buClr>
                <a:buSzPct val="80000"/>
                <a:buFont typeface="Wingdings" pitchFamily="2" charset="2"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lavika" panose="02000000000000000000"/>
              </a:endParaRPr>
            </a:p>
          </p:txBody>
        </p:sp>
      </p:grpSp>
      <p:grpSp>
        <p:nvGrpSpPr>
          <p:cNvPr id="1084" name="Group 5">
            <a:extLst>
              <a:ext uri="{FF2B5EF4-FFF2-40B4-BE49-F238E27FC236}">
                <a16:creationId xmlns:a16="http://schemas.microsoft.com/office/drawing/2014/main" id="{FC2624BA-082A-7B94-0468-B4D2ED9B4768}"/>
              </a:ext>
            </a:extLst>
          </p:cNvPr>
          <p:cNvGrpSpPr>
            <a:grpSpLocks noChangeAspect="1"/>
          </p:cNvGrpSpPr>
          <p:nvPr>
            <p:custDataLst>
              <p:tags r:id="rId27"/>
            </p:custDataLst>
          </p:nvPr>
        </p:nvGrpSpPr>
        <p:grpSpPr bwMode="auto">
          <a:xfrm>
            <a:off x="5350344" y="3824479"/>
            <a:ext cx="258351" cy="270328"/>
            <a:chOff x="1117" y="1342"/>
            <a:chExt cx="2260" cy="2366"/>
          </a:xfrm>
          <a:solidFill>
            <a:srgbClr val="FF0000"/>
          </a:solidFill>
        </p:grpSpPr>
        <p:sp>
          <p:nvSpPr>
            <p:cNvPr id="1085" name="Freeform 6">
              <a:extLst>
                <a:ext uri="{FF2B5EF4-FFF2-40B4-BE49-F238E27FC236}">
                  <a16:creationId xmlns:a16="http://schemas.microsoft.com/office/drawing/2014/main" id="{5DD9ACA4-6A50-6B8B-57D6-83826C7ECD0D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7" y="1342"/>
              <a:ext cx="2260" cy="2315"/>
            </a:xfrm>
            <a:custGeom>
              <a:avLst/>
              <a:gdLst>
                <a:gd name="T0" fmla="*/ 30 w 2260"/>
                <a:gd name="T1" fmla="*/ 181 h 2315"/>
                <a:gd name="T2" fmla="*/ 743 w 2260"/>
                <a:gd name="T3" fmla="*/ 1186 h 2315"/>
                <a:gd name="T4" fmla="*/ 1838 w 2260"/>
                <a:gd name="T5" fmla="*/ 2154 h 2315"/>
                <a:gd name="T6" fmla="*/ 1935 w 2260"/>
                <a:gd name="T7" fmla="*/ 2064 h 2315"/>
                <a:gd name="T8" fmla="*/ 2025 w 2260"/>
                <a:gd name="T9" fmla="*/ 2079 h 2315"/>
                <a:gd name="T10" fmla="*/ 2100 w 2260"/>
                <a:gd name="T11" fmla="*/ 2004 h 2315"/>
                <a:gd name="T12" fmla="*/ 2228 w 2260"/>
                <a:gd name="T13" fmla="*/ 1989 h 2315"/>
                <a:gd name="T14" fmla="*/ 2220 w 2260"/>
                <a:gd name="T15" fmla="*/ 1936 h 2315"/>
                <a:gd name="T16" fmla="*/ 1125 w 2260"/>
                <a:gd name="T17" fmla="*/ 1044 h 2315"/>
                <a:gd name="T18" fmla="*/ 540 w 2260"/>
                <a:gd name="T19" fmla="*/ 346 h 2315"/>
                <a:gd name="T20" fmla="*/ 360 w 2260"/>
                <a:gd name="T21" fmla="*/ 24 h 2315"/>
                <a:gd name="T22" fmla="*/ 315 w 2260"/>
                <a:gd name="T23" fmla="*/ 16 h 2315"/>
                <a:gd name="T24" fmla="*/ 263 w 2260"/>
                <a:gd name="T25" fmla="*/ 76 h 2315"/>
                <a:gd name="T26" fmla="*/ 270 w 2260"/>
                <a:gd name="T27" fmla="*/ 159 h 2315"/>
                <a:gd name="T28" fmla="*/ 195 w 2260"/>
                <a:gd name="T29" fmla="*/ 144 h 2315"/>
                <a:gd name="T30" fmla="*/ 143 w 2260"/>
                <a:gd name="T31" fmla="*/ 204 h 2315"/>
                <a:gd name="T32" fmla="*/ 30 w 2260"/>
                <a:gd name="T33" fmla="*/ 181 h 2315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w 2260"/>
                <a:gd name="T52" fmla="*/ 0 h 2315"/>
                <a:gd name="T53" fmla="*/ 2260 w 2260"/>
                <a:gd name="T54" fmla="*/ 2315 h 2315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T51" t="T52" r="T53" b="T54"/>
              <a:pathLst>
                <a:path w="2260" h="2315">
                  <a:moveTo>
                    <a:pt x="30" y="181"/>
                  </a:moveTo>
                  <a:cubicBezTo>
                    <a:pt x="0" y="361"/>
                    <a:pt x="442" y="857"/>
                    <a:pt x="743" y="1186"/>
                  </a:cubicBezTo>
                  <a:cubicBezTo>
                    <a:pt x="1044" y="1515"/>
                    <a:pt x="1639" y="2008"/>
                    <a:pt x="1838" y="2154"/>
                  </a:cubicBezTo>
                  <a:cubicBezTo>
                    <a:pt x="2051" y="2315"/>
                    <a:pt x="1875" y="2084"/>
                    <a:pt x="1935" y="2064"/>
                  </a:cubicBezTo>
                  <a:cubicBezTo>
                    <a:pt x="1966" y="2052"/>
                    <a:pt x="1998" y="2089"/>
                    <a:pt x="2025" y="2079"/>
                  </a:cubicBezTo>
                  <a:cubicBezTo>
                    <a:pt x="2052" y="2069"/>
                    <a:pt x="2066" y="2019"/>
                    <a:pt x="2100" y="2004"/>
                  </a:cubicBezTo>
                  <a:cubicBezTo>
                    <a:pt x="2116" y="1995"/>
                    <a:pt x="2228" y="1989"/>
                    <a:pt x="2228" y="1989"/>
                  </a:cubicBezTo>
                  <a:cubicBezTo>
                    <a:pt x="2239" y="1954"/>
                    <a:pt x="2260" y="1950"/>
                    <a:pt x="2220" y="1936"/>
                  </a:cubicBezTo>
                  <a:cubicBezTo>
                    <a:pt x="2010" y="1745"/>
                    <a:pt x="1404" y="1343"/>
                    <a:pt x="1125" y="1044"/>
                  </a:cubicBezTo>
                  <a:cubicBezTo>
                    <a:pt x="845" y="779"/>
                    <a:pt x="639" y="464"/>
                    <a:pt x="540" y="346"/>
                  </a:cubicBezTo>
                  <a:cubicBezTo>
                    <a:pt x="413" y="176"/>
                    <a:pt x="390" y="50"/>
                    <a:pt x="360" y="24"/>
                  </a:cubicBezTo>
                  <a:cubicBezTo>
                    <a:pt x="355" y="33"/>
                    <a:pt x="325" y="13"/>
                    <a:pt x="315" y="16"/>
                  </a:cubicBezTo>
                  <a:cubicBezTo>
                    <a:pt x="284" y="0"/>
                    <a:pt x="296" y="87"/>
                    <a:pt x="263" y="76"/>
                  </a:cubicBezTo>
                  <a:cubicBezTo>
                    <a:pt x="243" y="106"/>
                    <a:pt x="296" y="133"/>
                    <a:pt x="270" y="159"/>
                  </a:cubicBezTo>
                  <a:cubicBezTo>
                    <a:pt x="209" y="220"/>
                    <a:pt x="248" y="152"/>
                    <a:pt x="195" y="144"/>
                  </a:cubicBezTo>
                  <a:cubicBezTo>
                    <a:pt x="171" y="144"/>
                    <a:pt x="170" y="198"/>
                    <a:pt x="143" y="204"/>
                  </a:cubicBezTo>
                  <a:cubicBezTo>
                    <a:pt x="116" y="210"/>
                    <a:pt x="54" y="186"/>
                    <a:pt x="30" y="18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pPr marL="0" marR="0" lvl="0" indent="0" defTabSz="914400" eaLnBrk="0" fontAlgn="base" latinLnBrk="0" hangingPunct="0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>
                  <a:srgbClr val="3C58A1"/>
                </a:buClr>
                <a:buSzPct val="80000"/>
                <a:buFont typeface="Wingdings" pitchFamily="2" charset="2"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lavika" panose="02000000000000000000"/>
              </a:endParaRPr>
            </a:p>
          </p:txBody>
        </p:sp>
        <p:sp>
          <p:nvSpPr>
            <p:cNvPr id="1086" name="Freeform 7">
              <a:extLst>
                <a:ext uri="{FF2B5EF4-FFF2-40B4-BE49-F238E27FC236}">
                  <a16:creationId xmlns:a16="http://schemas.microsoft.com/office/drawing/2014/main" id="{491DABAB-B78D-22E1-BFEC-C32AB40A1448}"/>
                </a:ext>
              </a:extLst>
            </p:cNvPr>
            <p:cNvSpPr>
              <a:spLocks/>
            </p:cNvSpPr>
            <p:nvPr/>
          </p:nvSpPr>
          <p:spPr bwMode="auto">
            <a:xfrm flipV="1">
              <a:off x="1177" y="1394"/>
              <a:ext cx="1922" cy="2314"/>
            </a:xfrm>
            <a:custGeom>
              <a:avLst/>
              <a:gdLst>
                <a:gd name="T0" fmla="*/ 26 w 2087"/>
                <a:gd name="T1" fmla="*/ 206 h 2502"/>
                <a:gd name="T2" fmla="*/ 483 w 2087"/>
                <a:gd name="T3" fmla="*/ 1175 h 2502"/>
                <a:gd name="T4" fmla="*/ 1412 w 2087"/>
                <a:gd name="T5" fmla="*/ 2002 h 2502"/>
                <a:gd name="T6" fmla="*/ 1495 w 2087"/>
                <a:gd name="T7" fmla="*/ 1926 h 2502"/>
                <a:gd name="T8" fmla="*/ 1571 w 2087"/>
                <a:gd name="T9" fmla="*/ 1939 h 2502"/>
                <a:gd name="T10" fmla="*/ 1635 w 2087"/>
                <a:gd name="T11" fmla="*/ 1874 h 2502"/>
                <a:gd name="T12" fmla="*/ 1743 w 2087"/>
                <a:gd name="T13" fmla="*/ 1861 h 2502"/>
                <a:gd name="T14" fmla="*/ 1736 w 2087"/>
                <a:gd name="T15" fmla="*/ 1816 h 2502"/>
                <a:gd name="T16" fmla="*/ 375 w 2087"/>
                <a:gd name="T17" fmla="*/ 232 h 2502"/>
                <a:gd name="T18" fmla="*/ 324 w 2087"/>
                <a:gd name="T19" fmla="*/ 58 h 2502"/>
                <a:gd name="T20" fmla="*/ 274 w 2087"/>
                <a:gd name="T21" fmla="*/ 97 h 2502"/>
                <a:gd name="T22" fmla="*/ 248 w 2087"/>
                <a:gd name="T23" fmla="*/ 104 h 2502"/>
                <a:gd name="T24" fmla="*/ 166 w 2087"/>
                <a:gd name="T25" fmla="*/ 65 h 2502"/>
                <a:gd name="T26" fmla="*/ 127 w 2087"/>
                <a:gd name="T27" fmla="*/ 148 h 2502"/>
                <a:gd name="T28" fmla="*/ 44 w 2087"/>
                <a:gd name="T29" fmla="*/ 174 h 2502"/>
                <a:gd name="T30" fmla="*/ 26 w 2087"/>
                <a:gd name="T31" fmla="*/ 206 h 2502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2087"/>
                <a:gd name="T49" fmla="*/ 0 h 2502"/>
                <a:gd name="T50" fmla="*/ 2087 w 2087"/>
                <a:gd name="T51" fmla="*/ 2502 h 2502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2087" h="2502">
                  <a:moveTo>
                    <a:pt x="30" y="241"/>
                  </a:moveTo>
                  <a:cubicBezTo>
                    <a:pt x="0" y="421"/>
                    <a:pt x="297" y="1023"/>
                    <a:pt x="570" y="1373"/>
                  </a:cubicBezTo>
                  <a:cubicBezTo>
                    <a:pt x="843" y="1723"/>
                    <a:pt x="1466" y="2195"/>
                    <a:pt x="1665" y="2341"/>
                  </a:cubicBezTo>
                  <a:cubicBezTo>
                    <a:pt x="1878" y="2502"/>
                    <a:pt x="1702" y="2271"/>
                    <a:pt x="1762" y="2251"/>
                  </a:cubicBezTo>
                  <a:cubicBezTo>
                    <a:pt x="1793" y="2239"/>
                    <a:pt x="1825" y="2276"/>
                    <a:pt x="1852" y="2266"/>
                  </a:cubicBezTo>
                  <a:cubicBezTo>
                    <a:pt x="1879" y="2256"/>
                    <a:pt x="1893" y="2206"/>
                    <a:pt x="1927" y="2191"/>
                  </a:cubicBezTo>
                  <a:cubicBezTo>
                    <a:pt x="1943" y="2182"/>
                    <a:pt x="2055" y="2176"/>
                    <a:pt x="2055" y="2176"/>
                  </a:cubicBezTo>
                  <a:cubicBezTo>
                    <a:pt x="2066" y="2141"/>
                    <a:pt x="2087" y="2137"/>
                    <a:pt x="2047" y="2123"/>
                  </a:cubicBezTo>
                  <a:cubicBezTo>
                    <a:pt x="1778" y="1806"/>
                    <a:pt x="682" y="1298"/>
                    <a:pt x="442" y="271"/>
                  </a:cubicBezTo>
                  <a:cubicBezTo>
                    <a:pt x="427" y="204"/>
                    <a:pt x="420" y="126"/>
                    <a:pt x="382" y="68"/>
                  </a:cubicBezTo>
                  <a:cubicBezTo>
                    <a:pt x="360" y="0"/>
                    <a:pt x="330" y="97"/>
                    <a:pt x="322" y="113"/>
                  </a:cubicBezTo>
                  <a:cubicBezTo>
                    <a:pt x="317" y="122"/>
                    <a:pt x="302" y="118"/>
                    <a:pt x="292" y="121"/>
                  </a:cubicBezTo>
                  <a:cubicBezTo>
                    <a:pt x="261" y="105"/>
                    <a:pt x="228" y="87"/>
                    <a:pt x="195" y="76"/>
                  </a:cubicBezTo>
                  <a:cubicBezTo>
                    <a:pt x="175" y="106"/>
                    <a:pt x="176" y="147"/>
                    <a:pt x="150" y="173"/>
                  </a:cubicBezTo>
                  <a:cubicBezTo>
                    <a:pt x="89" y="234"/>
                    <a:pt x="156" y="151"/>
                    <a:pt x="52" y="203"/>
                  </a:cubicBezTo>
                  <a:cubicBezTo>
                    <a:pt x="39" y="210"/>
                    <a:pt x="37" y="228"/>
                    <a:pt x="30" y="24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pPr marL="0" marR="0" lvl="0" indent="0" defTabSz="914400" eaLnBrk="0" fontAlgn="base" latinLnBrk="0" hangingPunct="0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>
                  <a:srgbClr val="3C58A1"/>
                </a:buClr>
                <a:buSzPct val="80000"/>
                <a:buFont typeface="Wingdings" pitchFamily="2" charset="2"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lavika" panose="02000000000000000000"/>
              </a:endParaRPr>
            </a:p>
          </p:txBody>
        </p:sp>
      </p:grpSp>
      <p:grpSp>
        <p:nvGrpSpPr>
          <p:cNvPr id="1087" name="Group 5">
            <a:extLst>
              <a:ext uri="{FF2B5EF4-FFF2-40B4-BE49-F238E27FC236}">
                <a16:creationId xmlns:a16="http://schemas.microsoft.com/office/drawing/2014/main" id="{60B74AB4-58E5-B3EB-3C6A-D27372695C65}"/>
              </a:ext>
            </a:extLst>
          </p:cNvPr>
          <p:cNvGrpSpPr>
            <a:grpSpLocks noChangeAspect="1"/>
          </p:cNvGrpSpPr>
          <p:nvPr>
            <p:custDataLst>
              <p:tags r:id="rId28"/>
            </p:custDataLst>
          </p:nvPr>
        </p:nvGrpSpPr>
        <p:grpSpPr bwMode="auto">
          <a:xfrm>
            <a:off x="5350344" y="3587321"/>
            <a:ext cx="258351" cy="270328"/>
            <a:chOff x="1117" y="1342"/>
            <a:chExt cx="2260" cy="2366"/>
          </a:xfrm>
          <a:solidFill>
            <a:srgbClr val="FF0000"/>
          </a:solidFill>
        </p:grpSpPr>
        <p:sp>
          <p:nvSpPr>
            <p:cNvPr id="1088" name="Freeform 6">
              <a:extLst>
                <a:ext uri="{FF2B5EF4-FFF2-40B4-BE49-F238E27FC236}">
                  <a16:creationId xmlns:a16="http://schemas.microsoft.com/office/drawing/2014/main" id="{C8CA738D-993D-6807-17DF-6CBF4CB8F188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7" y="1342"/>
              <a:ext cx="2260" cy="2315"/>
            </a:xfrm>
            <a:custGeom>
              <a:avLst/>
              <a:gdLst>
                <a:gd name="T0" fmla="*/ 30 w 2260"/>
                <a:gd name="T1" fmla="*/ 181 h 2315"/>
                <a:gd name="T2" fmla="*/ 743 w 2260"/>
                <a:gd name="T3" fmla="*/ 1186 h 2315"/>
                <a:gd name="T4" fmla="*/ 1838 w 2260"/>
                <a:gd name="T5" fmla="*/ 2154 h 2315"/>
                <a:gd name="T6" fmla="*/ 1935 w 2260"/>
                <a:gd name="T7" fmla="*/ 2064 h 2315"/>
                <a:gd name="T8" fmla="*/ 2025 w 2260"/>
                <a:gd name="T9" fmla="*/ 2079 h 2315"/>
                <a:gd name="T10" fmla="*/ 2100 w 2260"/>
                <a:gd name="T11" fmla="*/ 2004 h 2315"/>
                <a:gd name="T12" fmla="*/ 2228 w 2260"/>
                <a:gd name="T13" fmla="*/ 1989 h 2315"/>
                <a:gd name="T14" fmla="*/ 2220 w 2260"/>
                <a:gd name="T15" fmla="*/ 1936 h 2315"/>
                <a:gd name="T16" fmla="*/ 1125 w 2260"/>
                <a:gd name="T17" fmla="*/ 1044 h 2315"/>
                <a:gd name="T18" fmla="*/ 540 w 2260"/>
                <a:gd name="T19" fmla="*/ 346 h 2315"/>
                <a:gd name="T20" fmla="*/ 360 w 2260"/>
                <a:gd name="T21" fmla="*/ 24 h 2315"/>
                <a:gd name="T22" fmla="*/ 315 w 2260"/>
                <a:gd name="T23" fmla="*/ 16 h 2315"/>
                <a:gd name="T24" fmla="*/ 263 w 2260"/>
                <a:gd name="T25" fmla="*/ 76 h 2315"/>
                <a:gd name="T26" fmla="*/ 270 w 2260"/>
                <a:gd name="T27" fmla="*/ 159 h 2315"/>
                <a:gd name="T28" fmla="*/ 195 w 2260"/>
                <a:gd name="T29" fmla="*/ 144 h 2315"/>
                <a:gd name="T30" fmla="*/ 143 w 2260"/>
                <a:gd name="T31" fmla="*/ 204 h 2315"/>
                <a:gd name="T32" fmla="*/ 30 w 2260"/>
                <a:gd name="T33" fmla="*/ 181 h 2315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w 2260"/>
                <a:gd name="T52" fmla="*/ 0 h 2315"/>
                <a:gd name="T53" fmla="*/ 2260 w 2260"/>
                <a:gd name="T54" fmla="*/ 2315 h 2315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T51" t="T52" r="T53" b="T54"/>
              <a:pathLst>
                <a:path w="2260" h="2315">
                  <a:moveTo>
                    <a:pt x="30" y="181"/>
                  </a:moveTo>
                  <a:cubicBezTo>
                    <a:pt x="0" y="361"/>
                    <a:pt x="442" y="857"/>
                    <a:pt x="743" y="1186"/>
                  </a:cubicBezTo>
                  <a:cubicBezTo>
                    <a:pt x="1044" y="1515"/>
                    <a:pt x="1639" y="2008"/>
                    <a:pt x="1838" y="2154"/>
                  </a:cubicBezTo>
                  <a:cubicBezTo>
                    <a:pt x="2051" y="2315"/>
                    <a:pt x="1875" y="2084"/>
                    <a:pt x="1935" y="2064"/>
                  </a:cubicBezTo>
                  <a:cubicBezTo>
                    <a:pt x="1966" y="2052"/>
                    <a:pt x="1998" y="2089"/>
                    <a:pt x="2025" y="2079"/>
                  </a:cubicBezTo>
                  <a:cubicBezTo>
                    <a:pt x="2052" y="2069"/>
                    <a:pt x="2066" y="2019"/>
                    <a:pt x="2100" y="2004"/>
                  </a:cubicBezTo>
                  <a:cubicBezTo>
                    <a:pt x="2116" y="1995"/>
                    <a:pt x="2228" y="1989"/>
                    <a:pt x="2228" y="1989"/>
                  </a:cubicBezTo>
                  <a:cubicBezTo>
                    <a:pt x="2239" y="1954"/>
                    <a:pt x="2260" y="1950"/>
                    <a:pt x="2220" y="1936"/>
                  </a:cubicBezTo>
                  <a:cubicBezTo>
                    <a:pt x="2010" y="1745"/>
                    <a:pt x="1404" y="1343"/>
                    <a:pt x="1125" y="1044"/>
                  </a:cubicBezTo>
                  <a:cubicBezTo>
                    <a:pt x="845" y="779"/>
                    <a:pt x="639" y="464"/>
                    <a:pt x="540" y="346"/>
                  </a:cubicBezTo>
                  <a:cubicBezTo>
                    <a:pt x="413" y="176"/>
                    <a:pt x="390" y="50"/>
                    <a:pt x="360" y="24"/>
                  </a:cubicBezTo>
                  <a:cubicBezTo>
                    <a:pt x="355" y="33"/>
                    <a:pt x="325" y="13"/>
                    <a:pt x="315" y="16"/>
                  </a:cubicBezTo>
                  <a:cubicBezTo>
                    <a:pt x="284" y="0"/>
                    <a:pt x="296" y="87"/>
                    <a:pt x="263" y="76"/>
                  </a:cubicBezTo>
                  <a:cubicBezTo>
                    <a:pt x="243" y="106"/>
                    <a:pt x="296" y="133"/>
                    <a:pt x="270" y="159"/>
                  </a:cubicBezTo>
                  <a:cubicBezTo>
                    <a:pt x="209" y="220"/>
                    <a:pt x="248" y="152"/>
                    <a:pt x="195" y="144"/>
                  </a:cubicBezTo>
                  <a:cubicBezTo>
                    <a:pt x="171" y="144"/>
                    <a:pt x="170" y="198"/>
                    <a:pt x="143" y="204"/>
                  </a:cubicBezTo>
                  <a:cubicBezTo>
                    <a:pt x="116" y="210"/>
                    <a:pt x="54" y="186"/>
                    <a:pt x="30" y="18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pPr marL="0" marR="0" lvl="0" indent="0" defTabSz="914400" eaLnBrk="0" fontAlgn="base" latinLnBrk="0" hangingPunct="0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>
                  <a:srgbClr val="3C58A1"/>
                </a:buClr>
                <a:buSzPct val="80000"/>
                <a:buFont typeface="Wingdings" pitchFamily="2" charset="2"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lavika" panose="02000000000000000000"/>
              </a:endParaRPr>
            </a:p>
          </p:txBody>
        </p:sp>
        <p:sp>
          <p:nvSpPr>
            <p:cNvPr id="1089" name="Freeform 7">
              <a:extLst>
                <a:ext uri="{FF2B5EF4-FFF2-40B4-BE49-F238E27FC236}">
                  <a16:creationId xmlns:a16="http://schemas.microsoft.com/office/drawing/2014/main" id="{AFBEAC34-C21E-7749-A597-0488738E0EB1}"/>
                </a:ext>
              </a:extLst>
            </p:cNvPr>
            <p:cNvSpPr>
              <a:spLocks/>
            </p:cNvSpPr>
            <p:nvPr/>
          </p:nvSpPr>
          <p:spPr bwMode="auto">
            <a:xfrm flipV="1">
              <a:off x="1177" y="1394"/>
              <a:ext cx="1922" cy="2314"/>
            </a:xfrm>
            <a:custGeom>
              <a:avLst/>
              <a:gdLst>
                <a:gd name="T0" fmla="*/ 26 w 2087"/>
                <a:gd name="T1" fmla="*/ 206 h 2502"/>
                <a:gd name="T2" fmla="*/ 483 w 2087"/>
                <a:gd name="T3" fmla="*/ 1175 h 2502"/>
                <a:gd name="T4" fmla="*/ 1412 w 2087"/>
                <a:gd name="T5" fmla="*/ 2002 h 2502"/>
                <a:gd name="T6" fmla="*/ 1495 w 2087"/>
                <a:gd name="T7" fmla="*/ 1926 h 2502"/>
                <a:gd name="T8" fmla="*/ 1571 w 2087"/>
                <a:gd name="T9" fmla="*/ 1939 h 2502"/>
                <a:gd name="T10" fmla="*/ 1635 w 2087"/>
                <a:gd name="T11" fmla="*/ 1874 h 2502"/>
                <a:gd name="T12" fmla="*/ 1743 w 2087"/>
                <a:gd name="T13" fmla="*/ 1861 h 2502"/>
                <a:gd name="T14" fmla="*/ 1736 w 2087"/>
                <a:gd name="T15" fmla="*/ 1816 h 2502"/>
                <a:gd name="T16" fmla="*/ 375 w 2087"/>
                <a:gd name="T17" fmla="*/ 232 h 2502"/>
                <a:gd name="T18" fmla="*/ 324 w 2087"/>
                <a:gd name="T19" fmla="*/ 58 h 2502"/>
                <a:gd name="T20" fmla="*/ 274 w 2087"/>
                <a:gd name="T21" fmla="*/ 97 h 2502"/>
                <a:gd name="T22" fmla="*/ 248 w 2087"/>
                <a:gd name="T23" fmla="*/ 104 h 2502"/>
                <a:gd name="T24" fmla="*/ 166 w 2087"/>
                <a:gd name="T25" fmla="*/ 65 h 2502"/>
                <a:gd name="T26" fmla="*/ 127 w 2087"/>
                <a:gd name="T27" fmla="*/ 148 h 2502"/>
                <a:gd name="T28" fmla="*/ 44 w 2087"/>
                <a:gd name="T29" fmla="*/ 174 h 2502"/>
                <a:gd name="T30" fmla="*/ 26 w 2087"/>
                <a:gd name="T31" fmla="*/ 206 h 2502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2087"/>
                <a:gd name="T49" fmla="*/ 0 h 2502"/>
                <a:gd name="T50" fmla="*/ 2087 w 2087"/>
                <a:gd name="T51" fmla="*/ 2502 h 2502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2087" h="2502">
                  <a:moveTo>
                    <a:pt x="30" y="241"/>
                  </a:moveTo>
                  <a:cubicBezTo>
                    <a:pt x="0" y="421"/>
                    <a:pt x="297" y="1023"/>
                    <a:pt x="570" y="1373"/>
                  </a:cubicBezTo>
                  <a:cubicBezTo>
                    <a:pt x="843" y="1723"/>
                    <a:pt x="1466" y="2195"/>
                    <a:pt x="1665" y="2341"/>
                  </a:cubicBezTo>
                  <a:cubicBezTo>
                    <a:pt x="1878" y="2502"/>
                    <a:pt x="1702" y="2271"/>
                    <a:pt x="1762" y="2251"/>
                  </a:cubicBezTo>
                  <a:cubicBezTo>
                    <a:pt x="1793" y="2239"/>
                    <a:pt x="1825" y="2276"/>
                    <a:pt x="1852" y="2266"/>
                  </a:cubicBezTo>
                  <a:cubicBezTo>
                    <a:pt x="1879" y="2256"/>
                    <a:pt x="1893" y="2206"/>
                    <a:pt x="1927" y="2191"/>
                  </a:cubicBezTo>
                  <a:cubicBezTo>
                    <a:pt x="1943" y="2182"/>
                    <a:pt x="2055" y="2176"/>
                    <a:pt x="2055" y="2176"/>
                  </a:cubicBezTo>
                  <a:cubicBezTo>
                    <a:pt x="2066" y="2141"/>
                    <a:pt x="2087" y="2137"/>
                    <a:pt x="2047" y="2123"/>
                  </a:cubicBezTo>
                  <a:cubicBezTo>
                    <a:pt x="1778" y="1806"/>
                    <a:pt x="682" y="1298"/>
                    <a:pt x="442" y="271"/>
                  </a:cubicBezTo>
                  <a:cubicBezTo>
                    <a:pt x="427" y="204"/>
                    <a:pt x="420" y="126"/>
                    <a:pt x="382" y="68"/>
                  </a:cubicBezTo>
                  <a:cubicBezTo>
                    <a:pt x="360" y="0"/>
                    <a:pt x="330" y="97"/>
                    <a:pt x="322" y="113"/>
                  </a:cubicBezTo>
                  <a:cubicBezTo>
                    <a:pt x="317" y="122"/>
                    <a:pt x="302" y="118"/>
                    <a:pt x="292" y="121"/>
                  </a:cubicBezTo>
                  <a:cubicBezTo>
                    <a:pt x="261" y="105"/>
                    <a:pt x="228" y="87"/>
                    <a:pt x="195" y="76"/>
                  </a:cubicBezTo>
                  <a:cubicBezTo>
                    <a:pt x="175" y="106"/>
                    <a:pt x="176" y="147"/>
                    <a:pt x="150" y="173"/>
                  </a:cubicBezTo>
                  <a:cubicBezTo>
                    <a:pt x="89" y="234"/>
                    <a:pt x="156" y="151"/>
                    <a:pt x="52" y="203"/>
                  </a:cubicBezTo>
                  <a:cubicBezTo>
                    <a:pt x="39" y="210"/>
                    <a:pt x="37" y="228"/>
                    <a:pt x="30" y="24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pPr marL="0" marR="0" lvl="0" indent="0" defTabSz="914400" eaLnBrk="0" fontAlgn="base" latinLnBrk="0" hangingPunct="0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>
                  <a:srgbClr val="3C58A1"/>
                </a:buClr>
                <a:buSzPct val="80000"/>
                <a:buFont typeface="Wingdings" pitchFamily="2" charset="2"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lavika" panose="02000000000000000000"/>
              </a:endParaRPr>
            </a:p>
          </p:txBody>
        </p:sp>
      </p:grpSp>
      <p:grpSp>
        <p:nvGrpSpPr>
          <p:cNvPr id="1090" name="Group 5">
            <a:extLst>
              <a:ext uri="{FF2B5EF4-FFF2-40B4-BE49-F238E27FC236}">
                <a16:creationId xmlns:a16="http://schemas.microsoft.com/office/drawing/2014/main" id="{04C47F56-595A-E482-14E2-9AB7AFDD66A2}"/>
              </a:ext>
            </a:extLst>
          </p:cNvPr>
          <p:cNvGrpSpPr>
            <a:grpSpLocks noChangeAspect="1"/>
          </p:cNvGrpSpPr>
          <p:nvPr>
            <p:custDataLst>
              <p:tags r:id="rId29"/>
            </p:custDataLst>
          </p:nvPr>
        </p:nvGrpSpPr>
        <p:grpSpPr bwMode="auto">
          <a:xfrm>
            <a:off x="5350344" y="4298795"/>
            <a:ext cx="258351" cy="270328"/>
            <a:chOff x="1117" y="1342"/>
            <a:chExt cx="2260" cy="2366"/>
          </a:xfrm>
          <a:solidFill>
            <a:srgbClr val="FF0000"/>
          </a:solidFill>
        </p:grpSpPr>
        <p:sp>
          <p:nvSpPr>
            <p:cNvPr id="1091" name="Freeform 6">
              <a:extLst>
                <a:ext uri="{FF2B5EF4-FFF2-40B4-BE49-F238E27FC236}">
                  <a16:creationId xmlns:a16="http://schemas.microsoft.com/office/drawing/2014/main" id="{616BE3B9-14E0-0725-9CC7-64F269C4B2B4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7" y="1342"/>
              <a:ext cx="2260" cy="2315"/>
            </a:xfrm>
            <a:custGeom>
              <a:avLst/>
              <a:gdLst>
                <a:gd name="T0" fmla="*/ 30 w 2260"/>
                <a:gd name="T1" fmla="*/ 181 h 2315"/>
                <a:gd name="T2" fmla="*/ 743 w 2260"/>
                <a:gd name="T3" fmla="*/ 1186 h 2315"/>
                <a:gd name="T4" fmla="*/ 1838 w 2260"/>
                <a:gd name="T5" fmla="*/ 2154 h 2315"/>
                <a:gd name="T6" fmla="*/ 1935 w 2260"/>
                <a:gd name="T7" fmla="*/ 2064 h 2315"/>
                <a:gd name="T8" fmla="*/ 2025 w 2260"/>
                <a:gd name="T9" fmla="*/ 2079 h 2315"/>
                <a:gd name="T10" fmla="*/ 2100 w 2260"/>
                <a:gd name="T11" fmla="*/ 2004 h 2315"/>
                <a:gd name="T12" fmla="*/ 2228 w 2260"/>
                <a:gd name="T13" fmla="*/ 1989 h 2315"/>
                <a:gd name="T14" fmla="*/ 2220 w 2260"/>
                <a:gd name="T15" fmla="*/ 1936 h 2315"/>
                <a:gd name="T16" fmla="*/ 1125 w 2260"/>
                <a:gd name="T17" fmla="*/ 1044 h 2315"/>
                <a:gd name="T18" fmla="*/ 540 w 2260"/>
                <a:gd name="T19" fmla="*/ 346 h 2315"/>
                <a:gd name="T20" fmla="*/ 360 w 2260"/>
                <a:gd name="T21" fmla="*/ 24 h 2315"/>
                <a:gd name="T22" fmla="*/ 315 w 2260"/>
                <a:gd name="T23" fmla="*/ 16 h 2315"/>
                <a:gd name="T24" fmla="*/ 263 w 2260"/>
                <a:gd name="T25" fmla="*/ 76 h 2315"/>
                <a:gd name="T26" fmla="*/ 270 w 2260"/>
                <a:gd name="T27" fmla="*/ 159 h 2315"/>
                <a:gd name="T28" fmla="*/ 195 w 2260"/>
                <a:gd name="T29" fmla="*/ 144 h 2315"/>
                <a:gd name="T30" fmla="*/ 143 w 2260"/>
                <a:gd name="T31" fmla="*/ 204 h 2315"/>
                <a:gd name="T32" fmla="*/ 30 w 2260"/>
                <a:gd name="T33" fmla="*/ 181 h 2315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w 2260"/>
                <a:gd name="T52" fmla="*/ 0 h 2315"/>
                <a:gd name="T53" fmla="*/ 2260 w 2260"/>
                <a:gd name="T54" fmla="*/ 2315 h 2315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T51" t="T52" r="T53" b="T54"/>
              <a:pathLst>
                <a:path w="2260" h="2315">
                  <a:moveTo>
                    <a:pt x="30" y="181"/>
                  </a:moveTo>
                  <a:cubicBezTo>
                    <a:pt x="0" y="361"/>
                    <a:pt x="442" y="857"/>
                    <a:pt x="743" y="1186"/>
                  </a:cubicBezTo>
                  <a:cubicBezTo>
                    <a:pt x="1044" y="1515"/>
                    <a:pt x="1639" y="2008"/>
                    <a:pt x="1838" y="2154"/>
                  </a:cubicBezTo>
                  <a:cubicBezTo>
                    <a:pt x="2051" y="2315"/>
                    <a:pt x="1875" y="2084"/>
                    <a:pt x="1935" y="2064"/>
                  </a:cubicBezTo>
                  <a:cubicBezTo>
                    <a:pt x="1966" y="2052"/>
                    <a:pt x="1998" y="2089"/>
                    <a:pt x="2025" y="2079"/>
                  </a:cubicBezTo>
                  <a:cubicBezTo>
                    <a:pt x="2052" y="2069"/>
                    <a:pt x="2066" y="2019"/>
                    <a:pt x="2100" y="2004"/>
                  </a:cubicBezTo>
                  <a:cubicBezTo>
                    <a:pt x="2116" y="1995"/>
                    <a:pt x="2228" y="1989"/>
                    <a:pt x="2228" y="1989"/>
                  </a:cubicBezTo>
                  <a:cubicBezTo>
                    <a:pt x="2239" y="1954"/>
                    <a:pt x="2260" y="1950"/>
                    <a:pt x="2220" y="1936"/>
                  </a:cubicBezTo>
                  <a:cubicBezTo>
                    <a:pt x="2010" y="1745"/>
                    <a:pt x="1404" y="1343"/>
                    <a:pt x="1125" y="1044"/>
                  </a:cubicBezTo>
                  <a:cubicBezTo>
                    <a:pt x="845" y="779"/>
                    <a:pt x="639" y="464"/>
                    <a:pt x="540" y="346"/>
                  </a:cubicBezTo>
                  <a:cubicBezTo>
                    <a:pt x="413" y="176"/>
                    <a:pt x="390" y="50"/>
                    <a:pt x="360" y="24"/>
                  </a:cubicBezTo>
                  <a:cubicBezTo>
                    <a:pt x="355" y="33"/>
                    <a:pt x="325" y="13"/>
                    <a:pt x="315" y="16"/>
                  </a:cubicBezTo>
                  <a:cubicBezTo>
                    <a:pt x="284" y="0"/>
                    <a:pt x="296" y="87"/>
                    <a:pt x="263" y="76"/>
                  </a:cubicBezTo>
                  <a:cubicBezTo>
                    <a:pt x="243" y="106"/>
                    <a:pt x="296" y="133"/>
                    <a:pt x="270" y="159"/>
                  </a:cubicBezTo>
                  <a:cubicBezTo>
                    <a:pt x="209" y="220"/>
                    <a:pt x="248" y="152"/>
                    <a:pt x="195" y="144"/>
                  </a:cubicBezTo>
                  <a:cubicBezTo>
                    <a:pt x="171" y="144"/>
                    <a:pt x="170" y="198"/>
                    <a:pt x="143" y="204"/>
                  </a:cubicBezTo>
                  <a:cubicBezTo>
                    <a:pt x="116" y="210"/>
                    <a:pt x="54" y="186"/>
                    <a:pt x="30" y="18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pPr marL="0" marR="0" lvl="0" indent="0" defTabSz="914400" eaLnBrk="0" fontAlgn="base" latinLnBrk="0" hangingPunct="0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>
                  <a:srgbClr val="3C58A1"/>
                </a:buClr>
                <a:buSzPct val="80000"/>
                <a:buFont typeface="Wingdings" pitchFamily="2" charset="2"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lavika" panose="02000000000000000000"/>
              </a:endParaRPr>
            </a:p>
          </p:txBody>
        </p:sp>
        <p:sp>
          <p:nvSpPr>
            <p:cNvPr id="1092" name="Freeform 7">
              <a:extLst>
                <a:ext uri="{FF2B5EF4-FFF2-40B4-BE49-F238E27FC236}">
                  <a16:creationId xmlns:a16="http://schemas.microsoft.com/office/drawing/2014/main" id="{723734CF-41E1-845A-2BB8-939A0896EB34}"/>
                </a:ext>
              </a:extLst>
            </p:cNvPr>
            <p:cNvSpPr>
              <a:spLocks/>
            </p:cNvSpPr>
            <p:nvPr/>
          </p:nvSpPr>
          <p:spPr bwMode="auto">
            <a:xfrm flipV="1">
              <a:off x="1177" y="1394"/>
              <a:ext cx="1922" cy="2314"/>
            </a:xfrm>
            <a:custGeom>
              <a:avLst/>
              <a:gdLst>
                <a:gd name="T0" fmla="*/ 26 w 2087"/>
                <a:gd name="T1" fmla="*/ 206 h 2502"/>
                <a:gd name="T2" fmla="*/ 483 w 2087"/>
                <a:gd name="T3" fmla="*/ 1175 h 2502"/>
                <a:gd name="T4" fmla="*/ 1412 w 2087"/>
                <a:gd name="T5" fmla="*/ 2002 h 2502"/>
                <a:gd name="T6" fmla="*/ 1495 w 2087"/>
                <a:gd name="T7" fmla="*/ 1926 h 2502"/>
                <a:gd name="T8" fmla="*/ 1571 w 2087"/>
                <a:gd name="T9" fmla="*/ 1939 h 2502"/>
                <a:gd name="T10" fmla="*/ 1635 w 2087"/>
                <a:gd name="T11" fmla="*/ 1874 h 2502"/>
                <a:gd name="T12" fmla="*/ 1743 w 2087"/>
                <a:gd name="T13" fmla="*/ 1861 h 2502"/>
                <a:gd name="T14" fmla="*/ 1736 w 2087"/>
                <a:gd name="T15" fmla="*/ 1816 h 2502"/>
                <a:gd name="T16" fmla="*/ 375 w 2087"/>
                <a:gd name="T17" fmla="*/ 232 h 2502"/>
                <a:gd name="T18" fmla="*/ 324 w 2087"/>
                <a:gd name="T19" fmla="*/ 58 h 2502"/>
                <a:gd name="T20" fmla="*/ 274 w 2087"/>
                <a:gd name="T21" fmla="*/ 97 h 2502"/>
                <a:gd name="T22" fmla="*/ 248 w 2087"/>
                <a:gd name="T23" fmla="*/ 104 h 2502"/>
                <a:gd name="T24" fmla="*/ 166 w 2087"/>
                <a:gd name="T25" fmla="*/ 65 h 2502"/>
                <a:gd name="T26" fmla="*/ 127 w 2087"/>
                <a:gd name="T27" fmla="*/ 148 h 2502"/>
                <a:gd name="T28" fmla="*/ 44 w 2087"/>
                <a:gd name="T29" fmla="*/ 174 h 2502"/>
                <a:gd name="T30" fmla="*/ 26 w 2087"/>
                <a:gd name="T31" fmla="*/ 206 h 2502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2087"/>
                <a:gd name="T49" fmla="*/ 0 h 2502"/>
                <a:gd name="T50" fmla="*/ 2087 w 2087"/>
                <a:gd name="T51" fmla="*/ 2502 h 2502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2087" h="2502">
                  <a:moveTo>
                    <a:pt x="30" y="241"/>
                  </a:moveTo>
                  <a:cubicBezTo>
                    <a:pt x="0" y="421"/>
                    <a:pt x="297" y="1023"/>
                    <a:pt x="570" y="1373"/>
                  </a:cubicBezTo>
                  <a:cubicBezTo>
                    <a:pt x="843" y="1723"/>
                    <a:pt x="1466" y="2195"/>
                    <a:pt x="1665" y="2341"/>
                  </a:cubicBezTo>
                  <a:cubicBezTo>
                    <a:pt x="1878" y="2502"/>
                    <a:pt x="1702" y="2271"/>
                    <a:pt x="1762" y="2251"/>
                  </a:cubicBezTo>
                  <a:cubicBezTo>
                    <a:pt x="1793" y="2239"/>
                    <a:pt x="1825" y="2276"/>
                    <a:pt x="1852" y="2266"/>
                  </a:cubicBezTo>
                  <a:cubicBezTo>
                    <a:pt x="1879" y="2256"/>
                    <a:pt x="1893" y="2206"/>
                    <a:pt x="1927" y="2191"/>
                  </a:cubicBezTo>
                  <a:cubicBezTo>
                    <a:pt x="1943" y="2182"/>
                    <a:pt x="2055" y="2176"/>
                    <a:pt x="2055" y="2176"/>
                  </a:cubicBezTo>
                  <a:cubicBezTo>
                    <a:pt x="2066" y="2141"/>
                    <a:pt x="2087" y="2137"/>
                    <a:pt x="2047" y="2123"/>
                  </a:cubicBezTo>
                  <a:cubicBezTo>
                    <a:pt x="1778" y="1806"/>
                    <a:pt x="682" y="1298"/>
                    <a:pt x="442" y="271"/>
                  </a:cubicBezTo>
                  <a:cubicBezTo>
                    <a:pt x="427" y="204"/>
                    <a:pt x="420" y="126"/>
                    <a:pt x="382" y="68"/>
                  </a:cubicBezTo>
                  <a:cubicBezTo>
                    <a:pt x="360" y="0"/>
                    <a:pt x="330" y="97"/>
                    <a:pt x="322" y="113"/>
                  </a:cubicBezTo>
                  <a:cubicBezTo>
                    <a:pt x="317" y="122"/>
                    <a:pt x="302" y="118"/>
                    <a:pt x="292" y="121"/>
                  </a:cubicBezTo>
                  <a:cubicBezTo>
                    <a:pt x="261" y="105"/>
                    <a:pt x="228" y="87"/>
                    <a:pt x="195" y="76"/>
                  </a:cubicBezTo>
                  <a:cubicBezTo>
                    <a:pt x="175" y="106"/>
                    <a:pt x="176" y="147"/>
                    <a:pt x="150" y="173"/>
                  </a:cubicBezTo>
                  <a:cubicBezTo>
                    <a:pt x="89" y="234"/>
                    <a:pt x="156" y="151"/>
                    <a:pt x="52" y="203"/>
                  </a:cubicBezTo>
                  <a:cubicBezTo>
                    <a:pt x="39" y="210"/>
                    <a:pt x="37" y="228"/>
                    <a:pt x="30" y="24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pPr marL="0" marR="0" lvl="0" indent="0" defTabSz="914400" eaLnBrk="0" fontAlgn="base" latinLnBrk="0" hangingPunct="0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>
                  <a:srgbClr val="3C58A1"/>
                </a:buClr>
                <a:buSzPct val="80000"/>
                <a:buFont typeface="Wingdings" pitchFamily="2" charset="2"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lavika" panose="02000000000000000000"/>
              </a:endParaRPr>
            </a:p>
          </p:txBody>
        </p:sp>
      </p:grpSp>
      <p:grpSp>
        <p:nvGrpSpPr>
          <p:cNvPr id="1093" name="Group 5">
            <a:extLst>
              <a:ext uri="{FF2B5EF4-FFF2-40B4-BE49-F238E27FC236}">
                <a16:creationId xmlns:a16="http://schemas.microsoft.com/office/drawing/2014/main" id="{C336B213-8D04-A234-3F70-2679C4E4EDE2}"/>
              </a:ext>
            </a:extLst>
          </p:cNvPr>
          <p:cNvGrpSpPr>
            <a:grpSpLocks noChangeAspect="1"/>
          </p:cNvGrpSpPr>
          <p:nvPr>
            <p:custDataLst>
              <p:tags r:id="rId30"/>
            </p:custDataLst>
          </p:nvPr>
        </p:nvGrpSpPr>
        <p:grpSpPr bwMode="auto">
          <a:xfrm>
            <a:off x="5350344" y="4061637"/>
            <a:ext cx="258351" cy="270328"/>
            <a:chOff x="1117" y="1342"/>
            <a:chExt cx="2260" cy="2366"/>
          </a:xfrm>
          <a:solidFill>
            <a:srgbClr val="FF0000"/>
          </a:solidFill>
        </p:grpSpPr>
        <p:sp>
          <p:nvSpPr>
            <p:cNvPr id="1094" name="Freeform 6">
              <a:extLst>
                <a:ext uri="{FF2B5EF4-FFF2-40B4-BE49-F238E27FC236}">
                  <a16:creationId xmlns:a16="http://schemas.microsoft.com/office/drawing/2014/main" id="{08389DF2-494E-F93E-2D31-C9B28E312F48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7" y="1342"/>
              <a:ext cx="2260" cy="2315"/>
            </a:xfrm>
            <a:custGeom>
              <a:avLst/>
              <a:gdLst>
                <a:gd name="T0" fmla="*/ 30 w 2260"/>
                <a:gd name="T1" fmla="*/ 181 h 2315"/>
                <a:gd name="T2" fmla="*/ 743 w 2260"/>
                <a:gd name="T3" fmla="*/ 1186 h 2315"/>
                <a:gd name="T4" fmla="*/ 1838 w 2260"/>
                <a:gd name="T5" fmla="*/ 2154 h 2315"/>
                <a:gd name="T6" fmla="*/ 1935 w 2260"/>
                <a:gd name="T7" fmla="*/ 2064 h 2315"/>
                <a:gd name="T8" fmla="*/ 2025 w 2260"/>
                <a:gd name="T9" fmla="*/ 2079 h 2315"/>
                <a:gd name="T10" fmla="*/ 2100 w 2260"/>
                <a:gd name="T11" fmla="*/ 2004 h 2315"/>
                <a:gd name="T12" fmla="*/ 2228 w 2260"/>
                <a:gd name="T13" fmla="*/ 1989 h 2315"/>
                <a:gd name="T14" fmla="*/ 2220 w 2260"/>
                <a:gd name="T15" fmla="*/ 1936 h 2315"/>
                <a:gd name="T16" fmla="*/ 1125 w 2260"/>
                <a:gd name="T17" fmla="*/ 1044 h 2315"/>
                <a:gd name="T18" fmla="*/ 540 w 2260"/>
                <a:gd name="T19" fmla="*/ 346 h 2315"/>
                <a:gd name="T20" fmla="*/ 360 w 2260"/>
                <a:gd name="T21" fmla="*/ 24 h 2315"/>
                <a:gd name="T22" fmla="*/ 315 w 2260"/>
                <a:gd name="T23" fmla="*/ 16 h 2315"/>
                <a:gd name="T24" fmla="*/ 263 w 2260"/>
                <a:gd name="T25" fmla="*/ 76 h 2315"/>
                <a:gd name="T26" fmla="*/ 270 w 2260"/>
                <a:gd name="T27" fmla="*/ 159 h 2315"/>
                <a:gd name="T28" fmla="*/ 195 w 2260"/>
                <a:gd name="T29" fmla="*/ 144 h 2315"/>
                <a:gd name="T30" fmla="*/ 143 w 2260"/>
                <a:gd name="T31" fmla="*/ 204 h 2315"/>
                <a:gd name="T32" fmla="*/ 30 w 2260"/>
                <a:gd name="T33" fmla="*/ 181 h 2315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w 2260"/>
                <a:gd name="T52" fmla="*/ 0 h 2315"/>
                <a:gd name="T53" fmla="*/ 2260 w 2260"/>
                <a:gd name="T54" fmla="*/ 2315 h 2315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T51" t="T52" r="T53" b="T54"/>
              <a:pathLst>
                <a:path w="2260" h="2315">
                  <a:moveTo>
                    <a:pt x="30" y="181"/>
                  </a:moveTo>
                  <a:cubicBezTo>
                    <a:pt x="0" y="361"/>
                    <a:pt x="442" y="857"/>
                    <a:pt x="743" y="1186"/>
                  </a:cubicBezTo>
                  <a:cubicBezTo>
                    <a:pt x="1044" y="1515"/>
                    <a:pt x="1639" y="2008"/>
                    <a:pt x="1838" y="2154"/>
                  </a:cubicBezTo>
                  <a:cubicBezTo>
                    <a:pt x="2051" y="2315"/>
                    <a:pt x="1875" y="2084"/>
                    <a:pt x="1935" y="2064"/>
                  </a:cubicBezTo>
                  <a:cubicBezTo>
                    <a:pt x="1966" y="2052"/>
                    <a:pt x="1998" y="2089"/>
                    <a:pt x="2025" y="2079"/>
                  </a:cubicBezTo>
                  <a:cubicBezTo>
                    <a:pt x="2052" y="2069"/>
                    <a:pt x="2066" y="2019"/>
                    <a:pt x="2100" y="2004"/>
                  </a:cubicBezTo>
                  <a:cubicBezTo>
                    <a:pt x="2116" y="1995"/>
                    <a:pt x="2228" y="1989"/>
                    <a:pt x="2228" y="1989"/>
                  </a:cubicBezTo>
                  <a:cubicBezTo>
                    <a:pt x="2239" y="1954"/>
                    <a:pt x="2260" y="1950"/>
                    <a:pt x="2220" y="1936"/>
                  </a:cubicBezTo>
                  <a:cubicBezTo>
                    <a:pt x="2010" y="1745"/>
                    <a:pt x="1404" y="1343"/>
                    <a:pt x="1125" y="1044"/>
                  </a:cubicBezTo>
                  <a:cubicBezTo>
                    <a:pt x="845" y="779"/>
                    <a:pt x="639" y="464"/>
                    <a:pt x="540" y="346"/>
                  </a:cubicBezTo>
                  <a:cubicBezTo>
                    <a:pt x="413" y="176"/>
                    <a:pt x="390" y="50"/>
                    <a:pt x="360" y="24"/>
                  </a:cubicBezTo>
                  <a:cubicBezTo>
                    <a:pt x="355" y="33"/>
                    <a:pt x="325" y="13"/>
                    <a:pt x="315" y="16"/>
                  </a:cubicBezTo>
                  <a:cubicBezTo>
                    <a:pt x="284" y="0"/>
                    <a:pt x="296" y="87"/>
                    <a:pt x="263" y="76"/>
                  </a:cubicBezTo>
                  <a:cubicBezTo>
                    <a:pt x="243" y="106"/>
                    <a:pt x="296" y="133"/>
                    <a:pt x="270" y="159"/>
                  </a:cubicBezTo>
                  <a:cubicBezTo>
                    <a:pt x="209" y="220"/>
                    <a:pt x="248" y="152"/>
                    <a:pt x="195" y="144"/>
                  </a:cubicBezTo>
                  <a:cubicBezTo>
                    <a:pt x="171" y="144"/>
                    <a:pt x="170" y="198"/>
                    <a:pt x="143" y="204"/>
                  </a:cubicBezTo>
                  <a:cubicBezTo>
                    <a:pt x="116" y="210"/>
                    <a:pt x="54" y="186"/>
                    <a:pt x="30" y="18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pPr marL="0" marR="0" lvl="0" indent="0" defTabSz="914400" eaLnBrk="0" fontAlgn="base" latinLnBrk="0" hangingPunct="0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>
                  <a:srgbClr val="3C58A1"/>
                </a:buClr>
                <a:buSzPct val="80000"/>
                <a:buFont typeface="Wingdings" pitchFamily="2" charset="2"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lavika" panose="02000000000000000000"/>
              </a:endParaRPr>
            </a:p>
          </p:txBody>
        </p:sp>
        <p:sp>
          <p:nvSpPr>
            <p:cNvPr id="1095" name="Freeform 7">
              <a:extLst>
                <a:ext uri="{FF2B5EF4-FFF2-40B4-BE49-F238E27FC236}">
                  <a16:creationId xmlns:a16="http://schemas.microsoft.com/office/drawing/2014/main" id="{3BC1BE55-EFA4-930F-116D-509EE00FC208}"/>
                </a:ext>
              </a:extLst>
            </p:cNvPr>
            <p:cNvSpPr>
              <a:spLocks/>
            </p:cNvSpPr>
            <p:nvPr/>
          </p:nvSpPr>
          <p:spPr bwMode="auto">
            <a:xfrm flipV="1">
              <a:off x="1177" y="1394"/>
              <a:ext cx="1922" cy="2314"/>
            </a:xfrm>
            <a:custGeom>
              <a:avLst/>
              <a:gdLst>
                <a:gd name="T0" fmla="*/ 26 w 2087"/>
                <a:gd name="T1" fmla="*/ 206 h 2502"/>
                <a:gd name="T2" fmla="*/ 483 w 2087"/>
                <a:gd name="T3" fmla="*/ 1175 h 2502"/>
                <a:gd name="T4" fmla="*/ 1412 w 2087"/>
                <a:gd name="T5" fmla="*/ 2002 h 2502"/>
                <a:gd name="T6" fmla="*/ 1495 w 2087"/>
                <a:gd name="T7" fmla="*/ 1926 h 2502"/>
                <a:gd name="T8" fmla="*/ 1571 w 2087"/>
                <a:gd name="T9" fmla="*/ 1939 h 2502"/>
                <a:gd name="T10" fmla="*/ 1635 w 2087"/>
                <a:gd name="T11" fmla="*/ 1874 h 2502"/>
                <a:gd name="T12" fmla="*/ 1743 w 2087"/>
                <a:gd name="T13" fmla="*/ 1861 h 2502"/>
                <a:gd name="T14" fmla="*/ 1736 w 2087"/>
                <a:gd name="T15" fmla="*/ 1816 h 2502"/>
                <a:gd name="T16" fmla="*/ 375 w 2087"/>
                <a:gd name="T17" fmla="*/ 232 h 2502"/>
                <a:gd name="T18" fmla="*/ 324 w 2087"/>
                <a:gd name="T19" fmla="*/ 58 h 2502"/>
                <a:gd name="T20" fmla="*/ 274 w 2087"/>
                <a:gd name="T21" fmla="*/ 97 h 2502"/>
                <a:gd name="T22" fmla="*/ 248 w 2087"/>
                <a:gd name="T23" fmla="*/ 104 h 2502"/>
                <a:gd name="T24" fmla="*/ 166 w 2087"/>
                <a:gd name="T25" fmla="*/ 65 h 2502"/>
                <a:gd name="T26" fmla="*/ 127 w 2087"/>
                <a:gd name="T27" fmla="*/ 148 h 2502"/>
                <a:gd name="T28" fmla="*/ 44 w 2087"/>
                <a:gd name="T29" fmla="*/ 174 h 2502"/>
                <a:gd name="T30" fmla="*/ 26 w 2087"/>
                <a:gd name="T31" fmla="*/ 206 h 2502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2087"/>
                <a:gd name="T49" fmla="*/ 0 h 2502"/>
                <a:gd name="T50" fmla="*/ 2087 w 2087"/>
                <a:gd name="T51" fmla="*/ 2502 h 2502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2087" h="2502">
                  <a:moveTo>
                    <a:pt x="30" y="241"/>
                  </a:moveTo>
                  <a:cubicBezTo>
                    <a:pt x="0" y="421"/>
                    <a:pt x="297" y="1023"/>
                    <a:pt x="570" y="1373"/>
                  </a:cubicBezTo>
                  <a:cubicBezTo>
                    <a:pt x="843" y="1723"/>
                    <a:pt x="1466" y="2195"/>
                    <a:pt x="1665" y="2341"/>
                  </a:cubicBezTo>
                  <a:cubicBezTo>
                    <a:pt x="1878" y="2502"/>
                    <a:pt x="1702" y="2271"/>
                    <a:pt x="1762" y="2251"/>
                  </a:cubicBezTo>
                  <a:cubicBezTo>
                    <a:pt x="1793" y="2239"/>
                    <a:pt x="1825" y="2276"/>
                    <a:pt x="1852" y="2266"/>
                  </a:cubicBezTo>
                  <a:cubicBezTo>
                    <a:pt x="1879" y="2256"/>
                    <a:pt x="1893" y="2206"/>
                    <a:pt x="1927" y="2191"/>
                  </a:cubicBezTo>
                  <a:cubicBezTo>
                    <a:pt x="1943" y="2182"/>
                    <a:pt x="2055" y="2176"/>
                    <a:pt x="2055" y="2176"/>
                  </a:cubicBezTo>
                  <a:cubicBezTo>
                    <a:pt x="2066" y="2141"/>
                    <a:pt x="2087" y="2137"/>
                    <a:pt x="2047" y="2123"/>
                  </a:cubicBezTo>
                  <a:cubicBezTo>
                    <a:pt x="1778" y="1806"/>
                    <a:pt x="682" y="1298"/>
                    <a:pt x="442" y="271"/>
                  </a:cubicBezTo>
                  <a:cubicBezTo>
                    <a:pt x="427" y="204"/>
                    <a:pt x="420" y="126"/>
                    <a:pt x="382" y="68"/>
                  </a:cubicBezTo>
                  <a:cubicBezTo>
                    <a:pt x="360" y="0"/>
                    <a:pt x="330" y="97"/>
                    <a:pt x="322" y="113"/>
                  </a:cubicBezTo>
                  <a:cubicBezTo>
                    <a:pt x="317" y="122"/>
                    <a:pt x="302" y="118"/>
                    <a:pt x="292" y="121"/>
                  </a:cubicBezTo>
                  <a:cubicBezTo>
                    <a:pt x="261" y="105"/>
                    <a:pt x="228" y="87"/>
                    <a:pt x="195" y="76"/>
                  </a:cubicBezTo>
                  <a:cubicBezTo>
                    <a:pt x="175" y="106"/>
                    <a:pt x="176" y="147"/>
                    <a:pt x="150" y="173"/>
                  </a:cubicBezTo>
                  <a:cubicBezTo>
                    <a:pt x="89" y="234"/>
                    <a:pt x="156" y="151"/>
                    <a:pt x="52" y="203"/>
                  </a:cubicBezTo>
                  <a:cubicBezTo>
                    <a:pt x="39" y="210"/>
                    <a:pt x="37" y="228"/>
                    <a:pt x="30" y="24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pPr marL="0" marR="0" lvl="0" indent="0" defTabSz="914400" eaLnBrk="0" fontAlgn="base" latinLnBrk="0" hangingPunct="0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>
                  <a:srgbClr val="3C58A1"/>
                </a:buClr>
                <a:buSzPct val="80000"/>
                <a:buFont typeface="Wingdings" pitchFamily="2" charset="2"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lavika" panose="02000000000000000000"/>
              </a:endParaRPr>
            </a:p>
          </p:txBody>
        </p:sp>
      </p:grpSp>
      <p:grpSp>
        <p:nvGrpSpPr>
          <p:cNvPr id="1096" name="Group 5">
            <a:extLst>
              <a:ext uri="{FF2B5EF4-FFF2-40B4-BE49-F238E27FC236}">
                <a16:creationId xmlns:a16="http://schemas.microsoft.com/office/drawing/2014/main" id="{E10E7AD7-071B-774B-B998-E330F6D410E1}"/>
              </a:ext>
            </a:extLst>
          </p:cNvPr>
          <p:cNvGrpSpPr>
            <a:grpSpLocks noChangeAspect="1"/>
          </p:cNvGrpSpPr>
          <p:nvPr>
            <p:custDataLst>
              <p:tags r:id="rId31"/>
            </p:custDataLst>
          </p:nvPr>
        </p:nvGrpSpPr>
        <p:grpSpPr bwMode="auto">
          <a:xfrm>
            <a:off x="5350344" y="4773111"/>
            <a:ext cx="258351" cy="270328"/>
            <a:chOff x="1117" y="1342"/>
            <a:chExt cx="2260" cy="2366"/>
          </a:xfrm>
          <a:solidFill>
            <a:srgbClr val="FF0000"/>
          </a:solidFill>
        </p:grpSpPr>
        <p:sp>
          <p:nvSpPr>
            <p:cNvPr id="1097" name="Freeform 6">
              <a:extLst>
                <a:ext uri="{FF2B5EF4-FFF2-40B4-BE49-F238E27FC236}">
                  <a16:creationId xmlns:a16="http://schemas.microsoft.com/office/drawing/2014/main" id="{595166E9-D0CE-2935-995D-2157731BA7B6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7" y="1342"/>
              <a:ext cx="2260" cy="2315"/>
            </a:xfrm>
            <a:custGeom>
              <a:avLst/>
              <a:gdLst>
                <a:gd name="T0" fmla="*/ 30 w 2260"/>
                <a:gd name="T1" fmla="*/ 181 h 2315"/>
                <a:gd name="T2" fmla="*/ 743 w 2260"/>
                <a:gd name="T3" fmla="*/ 1186 h 2315"/>
                <a:gd name="T4" fmla="*/ 1838 w 2260"/>
                <a:gd name="T5" fmla="*/ 2154 h 2315"/>
                <a:gd name="T6" fmla="*/ 1935 w 2260"/>
                <a:gd name="T7" fmla="*/ 2064 h 2315"/>
                <a:gd name="T8" fmla="*/ 2025 w 2260"/>
                <a:gd name="T9" fmla="*/ 2079 h 2315"/>
                <a:gd name="T10" fmla="*/ 2100 w 2260"/>
                <a:gd name="T11" fmla="*/ 2004 h 2315"/>
                <a:gd name="T12" fmla="*/ 2228 w 2260"/>
                <a:gd name="T13" fmla="*/ 1989 h 2315"/>
                <a:gd name="T14" fmla="*/ 2220 w 2260"/>
                <a:gd name="T15" fmla="*/ 1936 h 2315"/>
                <a:gd name="T16" fmla="*/ 1125 w 2260"/>
                <a:gd name="T17" fmla="*/ 1044 h 2315"/>
                <a:gd name="T18" fmla="*/ 540 w 2260"/>
                <a:gd name="T19" fmla="*/ 346 h 2315"/>
                <a:gd name="T20" fmla="*/ 360 w 2260"/>
                <a:gd name="T21" fmla="*/ 24 h 2315"/>
                <a:gd name="T22" fmla="*/ 315 w 2260"/>
                <a:gd name="T23" fmla="*/ 16 h 2315"/>
                <a:gd name="T24" fmla="*/ 263 w 2260"/>
                <a:gd name="T25" fmla="*/ 76 h 2315"/>
                <a:gd name="T26" fmla="*/ 270 w 2260"/>
                <a:gd name="T27" fmla="*/ 159 h 2315"/>
                <a:gd name="T28" fmla="*/ 195 w 2260"/>
                <a:gd name="T29" fmla="*/ 144 h 2315"/>
                <a:gd name="T30" fmla="*/ 143 w 2260"/>
                <a:gd name="T31" fmla="*/ 204 h 2315"/>
                <a:gd name="T32" fmla="*/ 30 w 2260"/>
                <a:gd name="T33" fmla="*/ 181 h 2315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w 2260"/>
                <a:gd name="T52" fmla="*/ 0 h 2315"/>
                <a:gd name="T53" fmla="*/ 2260 w 2260"/>
                <a:gd name="T54" fmla="*/ 2315 h 2315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T51" t="T52" r="T53" b="T54"/>
              <a:pathLst>
                <a:path w="2260" h="2315">
                  <a:moveTo>
                    <a:pt x="30" y="181"/>
                  </a:moveTo>
                  <a:cubicBezTo>
                    <a:pt x="0" y="361"/>
                    <a:pt x="442" y="857"/>
                    <a:pt x="743" y="1186"/>
                  </a:cubicBezTo>
                  <a:cubicBezTo>
                    <a:pt x="1044" y="1515"/>
                    <a:pt x="1639" y="2008"/>
                    <a:pt x="1838" y="2154"/>
                  </a:cubicBezTo>
                  <a:cubicBezTo>
                    <a:pt x="2051" y="2315"/>
                    <a:pt x="1875" y="2084"/>
                    <a:pt x="1935" y="2064"/>
                  </a:cubicBezTo>
                  <a:cubicBezTo>
                    <a:pt x="1966" y="2052"/>
                    <a:pt x="1998" y="2089"/>
                    <a:pt x="2025" y="2079"/>
                  </a:cubicBezTo>
                  <a:cubicBezTo>
                    <a:pt x="2052" y="2069"/>
                    <a:pt x="2066" y="2019"/>
                    <a:pt x="2100" y="2004"/>
                  </a:cubicBezTo>
                  <a:cubicBezTo>
                    <a:pt x="2116" y="1995"/>
                    <a:pt x="2228" y="1989"/>
                    <a:pt x="2228" y="1989"/>
                  </a:cubicBezTo>
                  <a:cubicBezTo>
                    <a:pt x="2239" y="1954"/>
                    <a:pt x="2260" y="1950"/>
                    <a:pt x="2220" y="1936"/>
                  </a:cubicBezTo>
                  <a:cubicBezTo>
                    <a:pt x="2010" y="1745"/>
                    <a:pt x="1404" y="1343"/>
                    <a:pt x="1125" y="1044"/>
                  </a:cubicBezTo>
                  <a:cubicBezTo>
                    <a:pt x="845" y="779"/>
                    <a:pt x="639" y="464"/>
                    <a:pt x="540" y="346"/>
                  </a:cubicBezTo>
                  <a:cubicBezTo>
                    <a:pt x="413" y="176"/>
                    <a:pt x="390" y="50"/>
                    <a:pt x="360" y="24"/>
                  </a:cubicBezTo>
                  <a:cubicBezTo>
                    <a:pt x="355" y="33"/>
                    <a:pt x="325" y="13"/>
                    <a:pt x="315" y="16"/>
                  </a:cubicBezTo>
                  <a:cubicBezTo>
                    <a:pt x="284" y="0"/>
                    <a:pt x="296" y="87"/>
                    <a:pt x="263" y="76"/>
                  </a:cubicBezTo>
                  <a:cubicBezTo>
                    <a:pt x="243" y="106"/>
                    <a:pt x="296" y="133"/>
                    <a:pt x="270" y="159"/>
                  </a:cubicBezTo>
                  <a:cubicBezTo>
                    <a:pt x="209" y="220"/>
                    <a:pt x="248" y="152"/>
                    <a:pt x="195" y="144"/>
                  </a:cubicBezTo>
                  <a:cubicBezTo>
                    <a:pt x="171" y="144"/>
                    <a:pt x="170" y="198"/>
                    <a:pt x="143" y="204"/>
                  </a:cubicBezTo>
                  <a:cubicBezTo>
                    <a:pt x="116" y="210"/>
                    <a:pt x="54" y="186"/>
                    <a:pt x="30" y="18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pPr marL="0" marR="0" lvl="0" indent="0" defTabSz="914400" eaLnBrk="0" fontAlgn="base" latinLnBrk="0" hangingPunct="0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>
                  <a:srgbClr val="3C58A1"/>
                </a:buClr>
                <a:buSzPct val="80000"/>
                <a:buFont typeface="Wingdings" pitchFamily="2" charset="2"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lavika" panose="02000000000000000000"/>
              </a:endParaRPr>
            </a:p>
          </p:txBody>
        </p:sp>
        <p:sp>
          <p:nvSpPr>
            <p:cNvPr id="1098" name="Freeform 7">
              <a:extLst>
                <a:ext uri="{FF2B5EF4-FFF2-40B4-BE49-F238E27FC236}">
                  <a16:creationId xmlns:a16="http://schemas.microsoft.com/office/drawing/2014/main" id="{B281C8FB-40A4-07E2-24F9-FA6D97BA3D07}"/>
                </a:ext>
              </a:extLst>
            </p:cNvPr>
            <p:cNvSpPr>
              <a:spLocks/>
            </p:cNvSpPr>
            <p:nvPr/>
          </p:nvSpPr>
          <p:spPr bwMode="auto">
            <a:xfrm flipV="1">
              <a:off x="1177" y="1394"/>
              <a:ext cx="1922" cy="2314"/>
            </a:xfrm>
            <a:custGeom>
              <a:avLst/>
              <a:gdLst>
                <a:gd name="T0" fmla="*/ 26 w 2087"/>
                <a:gd name="T1" fmla="*/ 206 h 2502"/>
                <a:gd name="T2" fmla="*/ 483 w 2087"/>
                <a:gd name="T3" fmla="*/ 1175 h 2502"/>
                <a:gd name="T4" fmla="*/ 1412 w 2087"/>
                <a:gd name="T5" fmla="*/ 2002 h 2502"/>
                <a:gd name="T6" fmla="*/ 1495 w 2087"/>
                <a:gd name="T7" fmla="*/ 1926 h 2502"/>
                <a:gd name="T8" fmla="*/ 1571 w 2087"/>
                <a:gd name="T9" fmla="*/ 1939 h 2502"/>
                <a:gd name="T10" fmla="*/ 1635 w 2087"/>
                <a:gd name="T11" fmla="*/ 1874 h 2502"/>
                <a:gd name="T12" fmla="*/ 1743 w 2087"/>
                <a:gd name="T13" fmla="*/ 1861 h 2502"/>
                <a:gd name="T14" fmla="*/ 1736 w 2087"/>
                <a:gd name="T15" fmla="*/ 1816 h 2502"/>
                <a:gd name="T16" fmla="*/ 375 w 2087"/>
                <a:gd name="T17" fmla="*/ 232 h 2502"/>
                <a:gd name="T18" fmla="*/ 324 w 2087"/>
                <a:gd name="T19" fmla="*/ 58 h 2502"/>
                <a:gd name="T20" fmla="*/ 274 w 2087"/>
                <a:gd name="T21" fmla="*/ 97 h 2502"/>
                <a:gd name="T22" fmla="*/ 248 w 2087"/>
                <a:gd name="T23" fmla="*/ 104 h 2502"/>
                <a:gd name="T24" fmla="*/ 166 w 2087"/>
                <a:gd name="T25" fmla="*/ 65 h 2502"/>
                <a:gd name="T26" fmla="*/ 127 w 2087"/>
                <a:gd name="T27" fmla="*/ 148 h 2502"/>
                <a:gd name="T28" fmla="*/ 44 w 2087"/>
                <a:gd name="T29" fmla="*/ 174 h 2502"/>
                <a:gd name="T30" fmla="*/ 26 w 2087"/>
                <a:gd name="T31" fmla="*/ 206 h 2502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2087"/>
                <a:gd name="T49" fmla="*/ 0 h 2502"/>
                <a:gd name="T50" fmla="*/ 2087 w 2087"/>
                <a:gd name="T51" fmla="*/ 2502 h 2502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2087" h="2502">
                  <a:moveTo>
                    <a:pt x="30" y="241"/>
                  </a:moveTo>
                  <a:cubicBezTo>
                    <a:pt x="0" y="421"/>
                    <a:pt x="297" y="1023"/>
                    <a:pt x="570" y="1373"/>
                  </a:cubicBezTo>
                  <a:cubicBezTo>
                    <a:pt x="843" y="1723"/>
                    <a:pt x="1466" y="2195"/>
                    <a:pt x="1665" y="2341"/>
                  </a:cubicBezTo>
                  <a:cubicBezTo>
                    <a:pt x="1878" y="2502"/>
                    <a:pt x="1702" y="2271"/>
                    <a:pt x="1762" y="2251"/>
                  </a:cubicBezTo>
                  <a:cubicBezTo>
                    <a:pt x="1793" y="2239"/>
                    <a:pt x="1825" y="2276"/>
                    <a:pt x="1852" y="2266"/>
                  </a:cubicBezTo>
                  <a:cubicBezTo>
                    <a:pt x="1879" y="2256"/>
                    <a:pt x="1893" y="2206"/>
                    <a:pt x="1927" y="2191"/>
                  </a:cubicBezTo>
                  <a:cubicBezTo>
                    <a:pt x="1943" y="2182"/>
                    <a:pt x="2055" y="2176"/>
                    <a:pt x="2055" y="2176"/>
                  </a:cubicBezTo>
                  <a:cubicBezTo>
                    <a:pt x="2066" y="2141"/>
                    <a:pt x="2087" y="2137"/>
                    <a:pt x="2047" y="2123"/>
                  </a:cubicBezTo>
                  <a:cubicBezTo>
                    <a:pt x="1778" y="1806"/>
                    <a:pt x="682" y="1298"/>
                    <a:pt x="442" y="271"/>
                  </a:cubicBezTo>
                  <a:cubicBezTo>
                    <a:pt x="427" y="204"/>
                    <a:pt x="420" y="126"/>
                    <a:pt x="382" y="68"/>
                  </a:cubicBezTo>
                  <a:cubicBezTo>
                    <a:pt x="360" y="0"/>
                    <a:pt x="330" y="97"/>
                    <a:pt x="322" y="113"/>
                  </a:cubicBezTo>
                  <a:cubicBezTo>
                    <a:pt x="317" y="122"/>
                    <a:pt x="302" y="118"/>
                    <a:pt x="292" y="121"/>
                  </a:cubicBezTo>
                  <a:cubicBezTo>
                    <a:pt x="261" y="105"/>
                    <a:pt x="228" y="87"/>
                    <a:pt x="195" y="76"/>
                  </a:cubicBezTo>
                  <a:cubicBezTo>
                    <a:pt x="175" y="106"/>
                    <a:pt x="176" y="147"/>
                    <a:pt x="150" y="173"/>
                  </a:cubicBezTo>
                  <a:cubicBezTo>
                    <a:pt x="89" y="234"/>
                    <a:pt x="156" y="151"/>
                    <a:pt x="52" y="203"/>
                  </a:cubicBezTo>
                  <a:cubicBezTo>
                    <a:pt x="39" y="210"/>
                    <a:pt x="37" y="228"/>
                    <a:pt x="30" y="24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pPr marL="0" marR="0" lvl="0" indent="0" defTabSz="914400" eaLnBrk="0" fontAlgn="base" latinLnBrk="0" hangingPunct="0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>
                  <a:srgbClr val="3C58A1"/>
                </a:buClr>
                <a:buSzPct val="80000"/>
                <a:buFont typeface="Wingdings" pitchFamily="2" charset="2"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lavika" panose="02000000000000000000"/>
              </a:endParaRPr>
            </a:p>
          </p:txBody>
        </p:sp>
      </p:grpSp>
      <p:grpSp>
        <p:nvGrpSpPr>
          <p:cNvPr id="1099" name="Group 5">
            <a:extLst>
              <a:ext uri="{FF2B5EF4-FFF2-40B4-BE49-F238E27FC236}">
                <a16:creationId xmlns:a16="http://schemas.microsoft.com/office/drawing/2014/main" id="{92E99FC4-689A-0861-120B-0A2AB666824D}"/>
              </a:ext>
            </a:extLst>
          </p:cNvPr>
          <p:cNvGrpSpPr>
            <a:grpSpLocks noChangeAspect="1"/>
          </p:cNvGrpSpPr>
          <p:nvPr>
            <p:custDataLst>
              <p:tags r:id="rId32"/>
            </p:custDataLst>
          </p:nvPr>
        </p:nvGrpSpPr>
        <p:grpSpPr bwMode="auto">
          <a:xfrm>
            <a:off x="5350344" y="4535953"/>
            <a:ext cx="258351" cy="270328"/>
            <a:chOff x="1117" y="1342"/>
            <a:chExt cx="2260" cy="2366"/>
          </a:xfrm>
          <a:solidFill>
            <a:srgbClr val="FF0000"/>
          </a:solidFill>
        </p:grpSpPr>
        <p:sp>
          <p:nvSpPr>
            <p:cNvPr id="1100" name="Freeform 6">
              <a:extLst>
                <a:ext uri="{FF2B5EF4-FFF2-40B4-BE49-F238E27FC236}">
                  <a16:creationId xmlns:a16="http://schemas.microsoft.com/office/drawing/2014/main" id="{C3C2C1C3-4C1F-5485-C9B3-B2C695C8E6F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7" y="1342"/>
              <a:ext cx="2260" cy="2315"/>
            </a:xfrm>
            <a:custGeom>
              <a:avLst/>
              <a:gdLst>
                <a:gd name="T0" fmla="*/ 30 w 2260"/>
                <a:gd name="T1" fmla="*/ 181 h 2315"/>
                <a:gd name="T2" fmla="*/ 743 w 2260"/>
                <a:gd name="T3" fmla="*/ 1186 h 2315"/>
                <a:gd name="T4" fmla="*/ 1838 w 2260"/>
                <a:gd name="T5" fmla="*/ 2154 h 2315"/>
                <a:gd name="T6" fmla="*/ 1935 w 2260"/>
                <a:gd name="T7" fmla="*/ 2064 h 2315"/>
                <a:gd name="T8" fmla="*/ 2025 w 2260"/>
                <a:gd name="T9" fmla="*/ 2079 h 2315"/>
                <a:gd name="T10" fmla="*/ 2100 w 2260"/>
                <a:gd name="T11" fmla="*/ 2004 h 2315"/>
                <a:gd name="T12" fmla="*/ 2228 w 2260"/>
                <a:gd name="T13" fmla="*/ 1989 h 2315"/>
                <a:gd name="T14" fmla="*/ 2220 w 2260"/>
                <a:gd name="T15" fmla="*/ 1936 h 2315"/>
                <a:gd name="T16" fmla="*/ 1125 w 2260"/>
                <a:gd name="T17" fmla="*/ 1044 h 2315"/>
                <a:gd name="T18" fmla="*/ 540 w 2260"/>
                <a:gd name="T19" fmla="*/ 346 h 2315"/>
                <a:gd name="T20" fmla="*/ 360 w 2260"/>
                <a:gd name="T21" fmla="*/ 24 h 2315"/>
                <a:gd name="T22" fmla="*/ 315 w 2260"/>
                <a:gd name="T23" fmla="*/ 16 h 2315"/>
                <a:gd name="T24" fmla="*/ 263 w 2260"/>
                <a:gd name="T25" fmla="*/ 76 h 2315"/>
                <a:gd name="T26" fmla="*/ 270 w 2260"/>
                <a:gd name="T27" fmla="*/ 159 h 2315"/>
                <a:gd name="T28" fmla="*/ 195 w 2260"/>
                <a:gd name="T29" fmla="*/ 144 h 2315"/>
                <a:gd name="T30" fmla="*/ 143 w 2260"/>
                <a:gd name="T31" fmla="*/ 204 h 2315"/>
                <a:gd name="T32" fmla="*/ 30 w 2260"/>
                <a:gd name="T33" fmla="*/ 181 h 2315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w 2260"/>
                <a:gd name="T52" fmla="*/ 0 h 2315"/>
                <a:gd name="T53" fmla="*/ 2260 w 2260"/>
                <a:gd name="T54" fmla="*/ 2315 h 2315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T51" t="T52" r="T53" b="T54"/>
              <a:pathLst>
                <a:path w="2260" h="2315">
                  <a:moveTo>
                    <a:pt x="30" y="181"/>
                  </a:moveTo>
                  <a:cubicBezTo>
                    <a:pt x="0" y="361"/>
                    <a:pt x="442" y="857"/>
                    <a:pt x="743" y="1186"/>
                  </a:cubicBezTo>
                  <a:cubicBezTo>
                    <a:pt x="1044" y="1515"/>
                    <a:pt x="1639" y="2008"/>
                    <a:pt x="1838" y="2154"/>
                  </a:cubicBezTo>
                  <a:cubicBezTo>
                    <a:pt x="2051" y="2315"/>
                    <a:pt x="1875" y="2084"/>
                    <a:pt x="1935" y="2064"/>
                  </a:cubicBezTo>
                  <a:cubicBezTo>
                    <a:pt x="1966" y="2052"/>
                    <a:pt x="1998" y="2089"/>
                    <a:pt x="2025" y="2079"/>
                  </a:cubicBezTo>
                  <a:cubicBezTo>
                    <a:pt x="2052" y="2069"/>
                    <a:pt x="2066" y="2019"/>
                    <a:pt x="2100" y="2004"/>
                  </a:cubicBezTo>
                  <a:cubicBezTo>
                    <a:pt x="2116" y="1995"/>
                    <a:pt x="2228" y="1989"/>
                    <a:pt x="2228" y="1989"/>
                  </a:cubicBezTo>
                  <a:cubicBezTo>
                    <a:pt x="2239" y="1954"/>
                    <a:pt x="2260" y="1950"/>
                    <a:pt x="2220" y="1936"/>
                  </a:cubicBezTo>
                  <a:cubicBezTo>
                    <a:pt x="2010" y="1745"/>
                    <a:pt x="1404" y="1343"/>
                    <a:pt x="1125" y="1044"/>
                  </a:cubicBezTo>
                  <a:cubicBezTo>
                    <a:pt x="845" y="779"/>
                    <a:pt x="639" y="464"/>
                    <a:pt x="540" y="346"/>
                  </a:cubicBezTo>
                  <a:cubicBezTo>
                    <a:pt x="413" y="176"/>
                    <a:pt x="390" y="50"/>
                    <a:pt x="360" y="24"/>
                  </a:cubicBezTo>
                  <a:cubicBezTo>
                    <a:pt x="355" y="33"/>
                    <a:pt x="325" y="13"/>
                    <a:pt x="315" y="16"/>
                  </a:cubicBezTo>
                  <a:cubicBezTo>
                    <a:pt x="284" y="0"/>
                    <a:pt x="296" y="87"/>
                    <a:pt x="263" y="76"/>
                  </a:cubicBezTo>
                  <a:cubicBezTo>
                    <a:pt x="243" y="106"/>
                    <a:pt x="296" y="133"/>
                    <a:pt x="270" y="159"/>
                  </a:cubicBezTo>
                  <a:cubicBezTo>
                    <a:pt x="209" y="220"/>
                    <a:pt x="248" y="152"/>
                    <a:pt x="195" y="144"/>
                  </a:cubicBezTo>
                  <a:cubicBezTo>
                    <a:pt x="171" y="144"/>
                    <a:pt x="170" y="198"/>
                    <a:pt x="143" y="204"/>
                  </a:cubicBezTo>
                  <a:cubicBezTo>
                    <a:pt x="116" y="210"/>
                    <a:pt x="54" y="186"/>
                    <a:pt x="30" y="18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pPr marL="0" marR="0" lvl="0" indent="0" defTabSz="914400" eaLnBrk="0" fontAlgn="base" latinLnBrk="0" hangingPunct="0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>
                  <a:srgbClr val="3C58A1"/>
                </a:buClr>
                <a:buSzPct val="80000"/>
                <a:buFont typeface="Wingdings" pitchFamily="2" charset="2"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lavika" panose="02000000000000000000"/>
              </a:endParaRPr>
            </a:p>
          </p:txBody>
        </p:sp>
        <p:sp>
          <p:nvSpPr>
            <p:cNvPr id="1101" name="Freeform 7">
              <a:extLst>
                <a:ext uri="{FF2B5EF4-FFF2-40B4-BE49-F238E27FC236}">
                  <a16:creationId xmlns:a16="http://schemas.microsoft.com/office/drawing/2014/main" id="{AC5476AE-CFCA-1BA6-71E6-C1FCDE7F189B}"/>
                </a:ext>
              </a:extLst>
            </p:cNvPr>
            <p:cNvSpPr>
              <a:spLocks/>
            </p:cNvSpPr>
            <p:nvPr/>
          </p:nvSpPr>
          <p:spPr bwMode="auto">
            <a:xfrm flipV="1">
              <a:off x="1177" y="1394"/>
              <a:ext cx="1922" cy="2314"/>
            </a:xfrm>
            <a:custGeom>
              <a:avLst/>
              <a:gdLst>
                <a:gd name="T0" fmla="*/ 26 w 2087"/>
                <a:gd name="T1" fmla="*/ 206 h 2502"/>
                <a:gd name="T2" fmla="*/ 483 w 2087"/>
                <a:gd name="T3" fmla="*/ 1175 h 2502"/>
                <a:gd name="T4" fmla="*/ 1412 w 2087"/>
                <a:gd name="T5" fmla="*/ 2002 h 2502"/>
                <a:gd name="T6" fmla="*/ 1495 w 2087"/>
                <a:gd name="T7" fmla="*/ 1926 h 2502"/>
                <a:gd name="T8" fmla="*/ 1571 w 2087"/>
                <a:gd name="T9" fmla="*/ 1939 h 2502"/>
                <a:gd name="T10" fmla="*/ 1635 w 2087"/>
                <a:gd name="T11" fmla="*/ 1874 h 2502"/>
                <a:gd name="T12" fmla="*/ 1743 w 2087"/>
                <a:gd name="T13" fmla="*/ 1861 h 2502"/>
                <a:gd name="T14" fmla="*/ 1736 w 2087"/>
                <a:gd name="T15" fmla="*/ 1816 h 2502"/>
                <a:gd name="T16" fmla="*/ 375 w 2087"/>
                <a:gd name="T17" fmla="*/ 232 h 2502"/>
                <a:gd name="T18" fmla="*/ 324 w 2087"/>
                <a:gd name="T19" fmla="*/ 58 h 2502"/>
                <a:gd name="T20" fmla="*/ 274 w 2087"/>
                <a:gd name="T21" fmla="*/ 97 h 2502"/>
                <a:gd name="T22" fmla="*/ 248 w 2087"/>
                <a:gd name="T23" fmla="*/ 104 h 2502"/>
                <a:gd name="T24" fmla="*/ 166 w 2087"/>
                <a:gd name="T25" fmla="*/ 65 h 2502"/>
                <a:gd name="T26" fmla="*/ 127 w 2087"/>
                <a:gd name="T27" fmla="*/ 148 h 2502"/>
                <a:gd name="T28" fmla="*/ 44 w 2087"/>
                <a:gd name="T29" fmla="*/ 174 h 2502"/>
                <a:gd name="T30" fmla="*/ 26 w 2087"/>
                <a:gd name="T31" fmla="*/ 206 h 2502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2087"/>
                <a:gd name="T49" fmla="*/ 0 h 2502"/>
                <a:gd name="T50" fmla="*/ 2087 w 2087"/>
                <a:gd name="T51" fmla="*/ 2502 h 2502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2087" h="2502">
                  <a:moveTo>
                    <a:pt x="30" y="241"/>
                  </a:moveTo>
                  <a:cubicBezTo>
                    <a:pt x="0" y="421"/>
                    <a:pt x="297" y="1023"/>
                    <a:pt x="570" y="1373"/>
                  </a:cubicBezTo>
                  <a:cubicBezTo>
                    <a:pt x="843" y="1723"/>
                    <a:pt x="1466" y="2195"/>
                    <a:pt x="1665" y="2341"/>
                  </a:cubicBezTo>
                  <a:cubicBezTo>
                    <a:pt x="1878" y="2502"/>
                    <a:pt x="1702" y="2271"/>
                    <a:pt x="1762" y="2251"/>
                  </a:cubicBezTo>
                  <a:cubicBezTo>
                    <a:pt x="1793" y="2239"/>
                    <a:pt x="1825" y="2276"/>
                    <a:pt x="1852" y="2266"/>
                  </a:cubicBezTo>
                  <a:cubicBezTo>
                    <a:pt x="1879" y="2256"/>
                    <a:pt x="1893" y="2206"/>
                    <a:pt x="1927" y="2191"/>
                  </a:cubicBezTo>
                  <a:cubicBezTo>
                    <a:pt x="1943" y="2182"/>
                    <a:pt x="2055" y="2176"/>
                    <a:pt x="2055" y="2176"/>
                  </a:cubicBezTo>
                  <a:cubicBezTo>
                    <a:pt x="2066" y="2141"/>
                    <a:pt x="2087" y="2137"/>
                    <a:pt x="2047" y="2123"/>
                  </a:cubicBezTo>
                  <a:cubicBezTo>
                    <a:pt x="1778" y="1806"/>
                    <a:pt x="682" y="1298"/>
                    <a:pt x="442" y="271"/>
                  </a:cubicBezTo>
                  <a:cubicBezTo>
                    <a:pt x="427" y="204"/>
                    <a:pt x="420" y="126"/>
                    <a:pt x="382" y="68"/>
                  </a:cubicBezTo>
                  <a:cubicBezTo>
                    <a:pt x="360" y="0"/>
                    <a:pt x="330" y="97"/>
                    <a:pt x="322" y="113"/>
                  </a:cubicBezTo>
                  <a:cubicBezTo>
                    <a:pt x="317" y="122"/>
                    <a:pt x="302" y="118"/>
                    <a:pt x="292" y="121"/>
                  </a:cubicBezTo>
                  <a:cubicBezTo>
                    <a:pt x="261" y="105"/>
                    <a:pt x="228" y="87"/>
                    <a:pt x="195" y="76"/>
                  </a:cubicBezTo>
                  <a:cubicBezTo>
                    <a:pt x="175" y="106"/>
                    <a:pt x="176" y="147"/>
                    <a:pt x="150" y="173"/>
                  </a:cubicBezTo>
                  <a:cubicBezTo>
                    <a:pt x="89" y="234"/>
                    <a:pt x="156" y="151"/>
                    <a:pt x="52" y="203"/>
                  </a:cubicBezTo>
                  <a:cubicBezTo>
                    <a:pt x="39" y="210"/>
                    <a:pt x="37" y="228"/>
                    <a:pt x="30" y="24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pPr marL="0" marR="0" lvl="0" indent="0" defTabSz="914400" eaLnBrk="0" fontAlgn="base" latinLnBrk="0" hangingPunct="0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>
                  <a:srgbClr val="3C58A1"/>
                </a:buClr>
                <a:buSzPct val="80000"/>
                <a:buFont typeface="Wingdings" pitchFamily="2" charset="2"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lavika" panose="02000000000000000000"/>
              </a:endParaRPr>
            </a:p>
          </p:txBody>
        </p:sp>
      </p:grpSp>
      <p:grpSp>
        <p:nvGrpSpPr>
          <p:cNvPr id="1102" name="Group 5">
            <a:extLst>
              <a:ext uri="{FF2B5EF4-FFF2-40B4-BE49-F238E27FC236}">
                <a16:creationId xmlns:a16="http://schemas.microsoft.com/office/drawing/2014/main" id="{68E436F4-6D7B-B383-A09F-BB44BC0C7381}"/>
              </a:ext>
            </a:extLst>
          </p:cNvPr>
          <p:cNvGrpSpPr>
            <a:grpSpLocks noChangeAspect="1"/>
          </p:cNvGrpSpPr>
          <p:nvPr>
            <p:custDataLst>
              <p:tags r:id="rId33"/>
            </p:custDataLst>
          </p:nvPr>
        </p:nvGrpSpPr>
        <p:grpSpPr bwMode="auto">
          <a:xfrm>
            <a:off x="5350344" y="5247427"/>
            <a:ext cx="258351" cy="270328"/>
            <a:chOff x="1117" y="1342"/>
            <a:chExt cx="2260" cy="2366"/>
          </a:xfrm>
          <a:solidFill>
            <a:srgbClr val="FF0000"/>
          </a:solidFill>
        </p:grpSpPr>
        <p:sp>
          <p:nvSpPr>
            <p:cNvPr id="1103" name="Freeform 6">
              <a:extLst>
                <a:ext uri="{FF2B5EF4-FFF2-40B4-BE49-F238E27FC236}">
                  <a16:creationId xmlns:a16="http://schemas.microsoft.com/office/drawing/2014/main" id="{E5252AB3-2980-6F4B-E681-E6CEDBDED5E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7" y="1342"/>
              <a:ext cx="2260" cy="2315"/>
            </a:xfrm>
            <a:custGeom>
              <a:avLst/>
              <a:gdLst>
                <a:gd name="T0" fmla="*/ 30 w 2260"/>
                <a:gd name="T1" fmla="*/ 181 h 2315"/>
                <a:gd name="T2" fmla="*/ 743 w 2260"/>
                <a:gd name="T3" fmla="*/ 1186 h 2315"/>
                <a:gd name="T4" fmla="*/ 1838 w 2260"/>
                <a:gd name="T5" fmla="*/ 2154 h 2315"/>
                <a:gd name="T6" fmla="*/ 1935 w 2260"/>
                <a:gd name="T7" fmla="*/ 2064 h 2315"/>
                <a:gd name="T8" fmla="*/ 2025 w 2260"/>
                <a:gd name="T9" fmla="*/ 2079 h 2315"/>
                <a:gd name="T10" fmla="*/ 2100 w 2260"/>
                <a:gd name="T11" fmla="*/ 2004 h 2315"/>
                <a:gd name="T12" fmla="*/ 2228 w 2260"/>
                <a:gd name="T13" fmla="*/ 1989 h 2315"/>
                <a:gd name="T14" fmla="*/ 2220 w 2260"/>
                <a:gd name="T15" fmla="*/ 1936 h 2315"/>
                <a:gd name="T16" fmla="*/ 1125 w 2260"/>
                <a:gd name="T17" fmla="*/ 1044 h 2315"/>
                <a:gd name="T18" fmla="*/ 540 w 2260"/>
                <a:gd name="T19" fmla="*/ 346 h 2315"/>
                <a:gd name="T20" fmla="*/ 360 w 2260"/>
                <a:gd name="T21" fmla="*/ 24 h 2315"/>
                <a:gd name="T22" fmla="*/ 315 w 2260"/>
                <a:gd name="T23" fmla="*/ 16 h 2315"/>
                <a:gd name="T24" fmla="*/ 263 w 2260"/>
                <a:gd name="T25" fmla="*/ 76 h 2315"/>
                <a:gd name="T26" fmla="*/ 270 w 2260"/>
                <a:gd name="T27" fmla="*/ 159 h 2315"/>
                <a:gd name="T28" fmla="*/ 195 w 2260"/>
                <a:gd name="T29" fmla="*/ 144 h 2315"/>
                <a:gd name="T30" fmla="*/ 143 w 2260"/>
                <a:gd name="T31" fmla="*/ 204 h 2315"/>
                <a:gd name="T32" fmla="*/ 30 w 2260"/>
                <a:gd name="T33" fmla="*/ 181 h 2315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w 2260"/>
                <a:gd name="T52" fmla="*/ 0 h 2315"/>
                <a:gd name="T53" fmla="*/ 2260 w 2260"/>
                <a:gd name="T54" fmla="*/ 2315 h 2315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T51" t="T52" r="T53" b="T54"/>
              <a:pathLst>
                <a:path w="2260" h="2315">
                  <a:moveTo>
                    <a:pt x="30" y="181"/>
                  </a:moveTo>
                  <a:cubicBezTo>
                    <a:pt x="0" y="361"/>
                    <a:pt x="442" y="857"/>
                    <a:pt x="743" y="1186"/>
                  </a:cubicBezTo>
                  <a:cubicBezTo>
                    <a:pt x="1044" y="1515"/>
                    <a:pt x="1639" y="2008"/>
                    <a:pt x="1838" y="2154"/>
                  </a:cubicBezTo>
                  <a:cubicBezTo>
                    <a:pt x="2051" y="2315"/>
                    <a:pt x="1875" y="2084"/>
                    <a:pt x="1935" y="2064"/>
                  </a:cubicBezTo>
                  <a:cubicBezTo>
                    <a:pt x="1966" y="2052"/>
                    <a:pt x="1998" y="2089"/>
                    <a:pt x="2025" y="2079"/>
                  </a:cubicBezTo>
                  <a:cubicBezTo>
                    <a:pt x="2052" y="2069"/>
                    <a:pt x="2066" y="2019"/>
                    <a:pt x="2100" y="2004"/>
                  </a:cubicBezTo>
                  <a:cubicBezTo>
                    <a:pt x="2116" y="1995"/>
                    <a:pt x="2228" y="1989"/>
                    <a:pt x="2228" y="1989"/>
                  </a:cubicBezTo>
                  <a:cubicBezTo>
                    <a:pt x="2239" y="1954"/>
                    <a:pt x="2260" y="1950"/>
                    <a:pt x="2220" y="1936"/>
                  </a:cubicBezTo>
                  <a:cubicBezTo>
                    <a:pt x="2010" y="1745"/>
                    <a:pt x="1404" y="1343"/>
                    <a:pt x="1125" y="1044"/>
                  </a:cubicBezTo>
                  <a:cubicBezTo>
                    <a:pt x="845" y="779"/>
                    <a:pt x="639" y="464"/>
                    <a:pt x="540" y="346"/>
                  </a:cubicBezTo>
                  <a:cubicBezTo>
                    <a:pt x="413" y="176"/>
                    <a:pt x="390" y="50"/>
                    <a:pt x="360" y="24"/>
                  </a:cubicBezTo>
                  <a:cubicBezTo>
                    <a:pt x="355" y="33"/>
                    <a:pt x="325" y="13"/>
                    <a:pt x="315" y="16"/>
                  </a:cubicBezTo>
                  <a:cubicBezTo>
                    <a:pt x="284" y="0"/>
                    <a:pt x="296" y="87"/>
                    <a:pt x="263" y="76"/>
                  </a:cubicBezTo>
                  <a:cubicBezTo>
                    <a:pt x="243" y="106"/>
                    <a:pt x="296" y="133"/>
                    <a:pt x="270" y="159"/>
                  </a:cubicBezTo>
                  <a:cubicBezTo>
                    <a:pt x="209" y="220"/>
                    <a:pt x="248" y="152"/>
                    <a:pt x="195" y="144"/>
                  </a:cubicBezTo>
                  <a:cubicBezTo>
                    <a:pt x="171" y="144"/>
                    <a:pt x="170" y="198"/>
                    <a:pt x="143" y="204"/>
                  </a:cubicBezTo>
                  <a:cubicBezTo>
                    <a:pt x="116" y="210"/>
                    <a:pt x="54" y="186"/>
                    <a:pt x="30" y="18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pPr marL="0" marR="0" lvl="0" indent="0" defTabSz="914400" eaLnBrk="0" fontAlgn="base" latinLnBrk="0" hangingPunct="0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>
                  <a:srgbClr val="3C58A1"/>
                </a:buClr>
                <a:buSzPct val="80000"/>
                <a:buFont typeface="Wingdings" pitchFamily="2" charset="2"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lavika" panose="02000000000000000000"/>
              </a:endParaRPr>
            </a:p>
          </p:txBody>
        </p:sp>
        <p:sp>
          <p:nvSpPr>
            <p:cNvPr id="1104" name="Freeform 7">
              <a:extLst>
                <a:ext uri="{FF2B5EF4-FFF2-40B4-BE49-F238E27FC236}">
                  <a16:creationId xmlns:a16="http://schemas.microsoft.com/office/drawing/2014/main" id="{EB324254-6158-4426-E890-36D5CA1E7DCD}"/>
                </a:ext>
              </a:extLst>
            </p:cNvPr>
            <p:cNvSpPr>
              <a:spLocks/>
            </p:cNvSpPr>
            <p:nvPr/>
          </p:nvSpPr>
          <p:spPr bwMode="auto">
            <a:xfrm flipV="1">
              <a:off x="1177" y="1394"/>
              <a:ext cx="1922" cy="2314"/>
            </a:xfrm>
            <a:custGeom>
              <a:avLst/>
              <a:gdLst>
                <a:gd name="T0" fmla="*/ 26 w 2087"/>
                <a:gd name="T1" fmla="*/ 206 h 2502"/>
                <a:gd name="T2" fmla="*/ 483 w 2087"/>
                <a:gd name="T3" fmla="*/ 1175 h 2502"/>
                <a:gd name="T4" fmla="*/ 1412 w 2087"/>
                <a:gd name="T5" fmla="*/ 2002 h 2502"/>
                <a:gd name="T6" fmla="*/ 1495 w 2087"/>
                <a:gd name="T7" fmla="*/ 1926 h 2502"/>
                <a:gd name="T8" fmla="*/ 1571 w 2087"/>
                <a:gd name="T9" fmla="*/ 1939 h 2502"/>
                <a:gd name="T10" fmla="*/ 1635 w 2087"/>
                <a:gd name="T11" fmla="*/ 1874 h 2502"/>
                <a:gd name="T12" fmla="*/ 1743 w 2087"/>
                <a:gd name="T13" fmla="*/ 1861 h 2502"/>
                <a:gd name="T14" fmla="*/ 1736 w 2087"/>
                <a:gd name="T15" fmla="*/ 1816 h 2502"/>
                <a:gd name="T16" fmla="*/ 375 w 2087"/>
                <a:gd name="T17" fmla="*/ 232 h 2502"/>
                <a:gd name="T18" fmla="*/ 324 w 2087"/>
                <a:gd name="T19" fmla="*/ 58 h 2502"/>
                <a:gd name="T20" fmla="*/ 274 w 2087"/>
                <a:gd name="T21" fmla="*/ 97 h 2502"/>
                <a:gd name="T22" fmla="*/ 248 w 2087"/>
                <a:gd name="T23" fmla="*/ 104 h 2502"/>
                <a:gd name="T24" fmla="*/ 166 w 2087"/>
                <a:gd name="T25" fmla="*/ 65 h 2502"/>
                <a:gd name="T26" fmla="*/ 127 w 2087"/>
                <a:gd name="T27" fmla="*/ 148 h 2502"/>
                <a:gd name="T28" fmla="*/ 44 w 2087"/>
                <a:gd name="T29" fmla="*/ 174 h 2502"/>
                <a:gd name="T30" fmla="*/ 26 w 2087"/>
                <a:gd name="T31" fmla="*/ 206 h 2502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2087"/>
                <a:gd name="T49" fmla="*/ 0 h 2502"/>
                <a:gd name="T50" fmla="*/ 2087 w 2087"/>
                <a:gd name="T51" fmla="*/ 2502 h 2502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2087" h="2502">
                  <a:moveTo>
                    <a:pt x="30" y="241"/>
                  </a:moveTo>
                  <a:cubicBezTo>
                    <a:pt x="0" y="421"/>
                    <a:pt x="297" y="1023"/>
                    <a:pt x="570" y="1373"/>
                  </a:cubicBezTo>
                  <a:cubicBezTo>
                    <a:pt x="843" y="1723"/>
                    <a:pt x="1466" y="2195"/>
                    <a:pt x="1665" y="2341"/>
                  </a:cubicBezTo>
                  <a:cubicBezTo>
                    <a:pt x="1878" y="2502"/>
                    <a:pt x="1702" y="2271"/>
                    <a:pt x="1762" y="2251"/>
                  </a:cubicBezTo>
                  <a:cubicBezTo>
                    <a:pt x="1793" y="2239"/>
                    <a:pt x="1825" y="2276"/>
                    <a:pt x="1852" y="2266"/>
                  </a:cubicBezTo>
                  <a:cubicBezTo>
                    <a:pt x="1879" y="2256"/>
                    <a:pt x="1893" y="2206"/>
                    <a:pt x="1927" y="2191"/>
                  </a:cubicBezTo>
                  <a:cubicBezTo>
                    <a:pt x="1943" y="2182"/>
                    <a:pt x="2055" y="2176"/>
                    <a:pt x="2055" y="2176"/>
                  </a:cubicBezTo>
                  <a:cubicBezTo>
                    <a:pt x="2066" y="2141"/>
                    <a:pt x="2087" y="2137"/>
                    <a:pt x="2047" y="2123"/>
                  </a:cubicBezTo>
                  <a:cubicBezTo>
                    <a:pt x="1778" y="1806"/>
                    <a:pt x="682" y="1298"/>
                    <a:pt x="442" y="271"/>
                  </a:cubicBezTo>
                  <a:cubicBezTo>
                    <a:pt x="427" y="204"/>
                    <a:pt x="420" y="126"/>
                    <a:pt x="382" y="68"/>
                  </a:cubicBezTo>
                  <a:cubicBezTo>
                    <a:pt x="360" y="0"/>
                    <a:pt x="330" y="97"/>
                    <a:pt x="322" y="113"/>
                  </a:cubicBezTo>
                  <a:cubicBezTo>
                    <a:pt x="317" y="122"/>
                    <a:pt x="302" y="118"/>
                    <a:pt x="292" y="121"/>
                  </a:cubicBezTo>
                  <a:cubicBezTo>
                    <a:pt x="261" y="105"/>
                    <a:pt x="228" y="87"/>
                    <a:pt x="195" y="76"/>
                  </a:cubicBezTo>
                  <a:cubicBezTo>
                    <a:pt x="175" y="106"/>
                    <a:pt x="176" y="147"/>
                    <a:pt x="150" y="173"/>
                  </a:cubicBezTo>
                  <a:cubicBezTo>
                    <a:pt x="89" y="234"/>
                    <a:pt x="156" y="151"/>
                    <a:pt x="52" y="203"/>
                  </a:cubicBezTo>
                  <a:cubicBezTo>
                    <a:pt x="39" y="210"/>
                    <a:pt x="37" y="228"/>
                    <a:pt x="30" y="24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pPr marL="0" marR="0" lvl="0" indent="0" defTabSz="914400" eaLnBrk="0" fontAlgn="base" latinLnBrk="0" hangingPunct="0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>
                  <a:srgbClr val="3C58A1"/>
                </a:buClr>
                <a:buSzPct val="80000"/>
                <a:buFont typeface="Wingdings" pitchFamily="2" charset="2"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lavika" panose="02000000000000000000"/>
              </a:endParaRPr>
            </a:p>
          </p:txBody>
        </p:sp>
      </p:grpSp>
      <p:grpSp>
        <p:nvGrpSpPr>
          <p:cNvPr id="1105" name="Group 5">
            <a:extLst>
              <a:ext uri="{FF2B5EF4-FFF2-40B4-BE49-F238E27FC236}">
                <a16:creationId xmlns:a16="http://schemas.microsoft.com/office/drawing/2014/main" id="{1AECDC03-C886-3D15-8348-17C98CF6CF62}"/>
              </a:ext>
            </a:extLst>
          </p:cNvPr>
          <p:cNvGrpSpPr>
            <a:grpSpLocks noChangeAspect="1"/>
          </p:cNvGrpSpPr>
          <p:nvPr>
            <p:custDataLst>
              <p:tags r:id="rId34"/>
            </p:custDataLst>
          </p:nvPr>
        </p:nvGrpSpPr>
        <p:grpSpPr bwMode="auto">
          <a:xfrm>
            <a:off x="5350344" y="5010269"/>
            <a:ext cx="258351" cy="270328"/>
            <a:chOff x="1117" y="1342"/>
            <a:chExt cx="2260" cy="2366"/>
          </a:xfrm>
          <a:solidFill>
            <a:srgbClr val="FF0000"/>
          </a:solidFill>
        </p:grpSpPr>
        <p:sp>
          <p:nvSpPr>
            <p:cNvPr id="1106" name="Freeform 6">
              <a:extLst>
                <a:ext uri="{FF2B5EF4-FFF2-40B4-BE49-F238E27FC236}">
                  <a16:creationId xmlns:a16="http://schemas.microsoft.com/office/drawing/2014/main" id="{482BC1E5-90E9-77AB-2CED-A8724F89A5F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7" y="1342"/>
              <a:ext cx="2260" cy="2315"/>
            </a:xfrm>
            <a:custGeom>
              <a:avLst/>
              <a:gdLst>
                <a:gd name="T0" fmla="*/ 30 w 2260"/>
                <a:gd name="T1" fmla="*/ 181 h 2315"/>
                <a:gd name="T2" fmla="*/ 743 w 2260"/>
                <a:gd name="T3" fmla="*/ 1186 h 2315"/>
                <a:gd name="T4" fmla="*/ 1838 w 2260"/>
                <a:gd name="T5" fmla="*/ 2154 h 2315"/>
                <a:gd name="T6" fmla="*/ 1935 w 2260"/>
                <a:gd name="T7" fmla="*/ 2064 h 2315"/>
                <a:gd name="T8" fmla="*/ 2025 w 2260"/>
                <a:gd name="T9" fmla="*/ 2079 h 2315"/>
                <a:gd name="T10" fmla="*/ 2100 w 2260"/>
                <a:gd name="T11" fmla="*/ 2004 h 2315"/>
                <a:gd name="T12" fmla="*/ 2228 w 2260"/>
                <a:gd name="T13" fmla="*/ 1989 h 2315"/>
                <a:gd name="T14" fmla="*/ 2220 w 2260"/>
                <a:gd name="T15" fmla="*/ 1936 h 2315"/>
                <a:gd name="T16" fmla="*/ 1125 w 2260"/>
                <a:gd name="T17" fmla="*/ 1044 h 2315"/>
                <a:gd name="T18" fmla="*/ 540 w 2260"/>
                <a:gd name="T19" fmla="*/ 346 h 2315"/>
                <a:gd name="T20" fmla="*/ 360 w 2260"/>
                <a:gd name="T21" fmla="*/ 24 h 2315"/>
                <a:gd name="T22" fmla="*/ 315 w 2260"/>
                <a:gd name="T23" fmla="*/ 16 h 2315"/>
                <a:gd name="T24" fmla="*/ 263 w 2260"/>
                <a:gd name="T25" fmla="*/ 76 h 2315"/>
                <a:gd name="T26" fmla="*/ 270 w 2260"/>
                <a:gd name="T27" fmla="*/ 159 h 2315"/>
                <a:gd name="T28" fmla="*/ 195 w 2260"/>
                <a:gd name="T29" fmla="*/ 144 h 2315"/>
                <a:gd name="T30" fmla="*/ 143 w 2260"/>
                <a:gd name="T31" fmla="*/ 204 h 2315"/>
                <a:gd name="T32" fmla="*/ 30 w 2260"/>
                <a:gd name="T33" fmla="*/ 181 h 2315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w 2260"/>
                <a:gd name="T52" fmla="*/ 0 h 2315"/>
                <a:gd name="T53" fmla="*/ 2260 w 2260"/>
                <a:gd name="T54" fmla="*/ 2315 h 2315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T51" t="T52" r="T53" b="T54"/>
              <a:pathLst>
                <a:path w="2260" h="2315">
                  <a:moveTo>
                    <a:pt x="30" y="181"/>
                  </a:moveTo>
                  <a:cubicBezTo>
                    <a:pt x="0" y="361"/>
                    <a:pt x="442" y="857"/>
                    <a:pt x="743" y="1186"/>
                  </a:cubicBezTo>
                  <a:cubicBezTo>
                    <a:pt x="1044" y="1515"/>
                    <a:pt x="1639" y="2008"/>
                    <a:pt x="1838" y="2154"/>
                  </a:cubicBezTo>
                  <a:cubicBezTo>
                    <a:pt x="2051" y="2315"/>
                    <a:pt x="1875" y="2084"/>
                    <a:pt x="1935" y="2064"/>
                  </a:cubicBezTo>
                  <a:cubicBezTo>
                    <a:pt x="1966" y="2052"/>
                    <a:pt x="1998" y="2089"/>
                    <a:pt x="2025" y="2079"/>
                  </a:cubicBezTo>
                  <a:cubicBezTo>
                    <a:pt x="2052" y="2069"/>
                    <a:pt x="2066" y="2019"/>
                    <a:pt x="2100" y="2004"/>
                  </a:cubicBezTo>
                  <a:cubicBezTo>
                    <a:pt x="2116" y="1995"/>
                    <a:pt x="2228" y="1989"/>
                    <a:pt x="2228" y="1989"/>
                  </a:cubicBezTo>
                  <a:cubicBezTo>
                    <a:pt x="2239" y="1954"/>
                    <a:pt x="2260" y="1950"/>
                    <a:pt x="2220" y="1936"/>
                  </a:cubicBezTo>
                  <a:cubicBezTo>
                    <a:pt x="2010" y="1745"/>
                    <a:pt x="1404" y="1343"/>
                    <a:pt x="1125" y="1044"/>
                  </a:cubicBezTo>
                  <a:cubicBezTo>
                    <a:pt x="845" y="779"/>
                    <a:pt x="639" y="464"/>
                    <a:pt x="540" y="346"/>
                  </a:cubicBezTo>
                  <a:cubicBezTo>
                    <a:pt x="413" y="176"/>
                    <a:pt x="390" y="50"/>
                    <a:pt x="360" y="24"/>
                  </a:cubicBezTo>
                  <a:cubicBezTo>
                    <a:pt x="355" y="33"/>
                    <a:pt x="325" y="13"/>
                    <a:pt x="315" y="16"/>
                  </a:cubicBezTo>
                  <a:cubicBezTo>
                    <a:pt x="284" y="0"/>
                    <a:pt x="296" y="87"/>
                    <a:pt x="263" y="76"/>
                  </a:cubicBezTo>
                  <a:cubicBezTo>
                    <a:pt x="243" y="106"/>
                    <a:pt x="296" y="133"/>
                    <a:pt x="270" y="159"/>
                  </a:cubicBezTo>
                  <a:cubicBezTo>
                    <a:pt x="209" y="220"/>
                    <a:pt x="248" y="152"/>
                    <a:pt x="195" y="144"/>
                  </a:cubicBezTo>
                  <a:cubicBezTo>
                    <a:pt x="171" y="144"/>
                    <a:pt x="170" y="198"/>
                    <a:pt x="143" y="204"/>
                  </a:cubicBezTo>
                  <a:cubicBezTo>
                    <a:pt x="116" y="210"/>
                    <a:pt x="54" y="186"/>
                    <a:pt x="30" y="18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pPr marL="0" marR="0" lvl="0" indent="0" defTabSz="914400" eaLnBrk="0" fontAlgn="base" latinLnBrk="0" hangingPunct="0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>
                  <a:srgbClr val="3C58A1"/>
                </a:buClr>
                <a:buSzPct val="80000"/>
                <a:buFont typeface="Wingdings" pitchFamily="2" charset="2"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lavika" panose="02000000000000000000"/>
              </a:endParaRPr>
            </a:p>
          </p:txBody>
        </p:sp>
        <p:sp>
          <p:nvSpPr>
            <p:cNvPr id="1107" name="Freeform 7">
              <a:extLst>
                <a:ext uri="{FF2B5EF4-FFF2-40B4-BE49-F238E27FC236}">
                  <a16:creationId xmlns:a16="http://schemas.microsoft.com/office/drawing/2014/main" id="{7F9ABA4B-D024-A5C1-3031-89BD010E5050}"/>
                </a:ext>
              </a:extLst>
            </p:cNvPr>
            <p:cNvSpPr>
              <a:spLocks/>
            </p:cNvSpPr>
            <p:nvPr/>
          </p:nvSpPr>
          <p:spPr bwMode="auto">
            <a:xfrm flipV="1">
              <a:off x="1177" y="1394"/>
              <a:ext cx="1922" cy="2314"/>
            </a:xfrm>
            <a:custGeom>
              <a:avLst/>
              <a:gdLst>
                <a:gd name="T0" fmla="*/ 26 w 2087"/>
                <a:gd name="T1" fmla="*/ 206 h 2502"/>
                <a:gd name="T2" fmla="*/ 483 w 2087"/>
                <a:gd name="T3" fmla="*/ 1175 h 2502"/>
                <a:gd name="T4" fmla="*/ 1412 w 2087"/>
                <a:gd name="T5" fmla="*/ 2002 h 2502"/>
                <a:gd name="T6" fmla="*/ 1495 w 2087"/>
                <a:gd name="T7" fmla="*/ 1926 h 2502"/>
                <a:gd name="T8" fmla="*/ 1571 w 2087"/>
                <a:gd name="T9" fmla="*/ 1939 h 2502"/>
                <a:gd name="T10" fmla="*/ 1635 w 2087"/>
                <a:gd name="T11" fmla="*/ 1874 h 2502"/>
                <a:gd name="T12" fmla="*/ 1743 w 2087"/>
                <a:gd name="T13" fmla="*/ 1861 h 2502"/>
                <a:gd name="T14" fmla="*/ 1736 w 2087"/>
                <a:gd name="T15" fmla="*/ 1816 h 2502"/>
                <a:gd name="T16" fmla="*/ 375 w 2087"/>
                <a:gd name="T17" fmla="*/ 232 h 2502"/>
                <a:gd name="T18" fmla="*/ 324 w 2087"/>
                <a:gd name="T19" fmla="*/ 58 h 2502"/>
                <a:gd name="T20" fmla="*/ 274 w 2087"/>
                <a:gd name="T21" fmla="*/ 97 h 2502"/>
                <a:gd name="T22" fmla="*/ 248 w 2087"/>
                <a:gd name="T23" fmla="*/ 104 h 2502"/>
                <a:gd name="T24" fmla="*/ 166 w 2087"/>
                <a:gd name="T25" fmla="*/ 65 h 2502"/>
                <a:gd name="T26" fmla="*/ 127 w 2087"/>
                <a:gd name="T27" fmla="*/ 148 h 2502"/>
                <a:gd name="T28" fmla="*/ 44 w 2087"/>
                <a:gd name="T29" fmla="*/ 174 h 2502"/>
                <a:gd name="T30" fmla="*/ 26 w 2087"/>
                <a:gd name="T31" fmla="*/ 206 h 2502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2087"/>
                <a:gd name="T49" fmla="*/ 0 h 2502"/>
                <a:gd name="T50" fmla="*/ 2087 w 2087"/>
                <a:gd name="T51" fmla="*/ 2502 h 2502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2087" h="2502">
                  <a:moveTo>
                    <a:pt x="30" y="241"/>
                  </a:moveTo>
                  <a:cubicBezTo>
                    <a:pt x="0" y="421"/>
                    <a:pt x="297" y="1023"/>
                    <a:pt x="570" y="1373"/>
                  </a:cubicBezTo>
                  <a:cubicBezTo>
                    <a:pt x="843" y="1723"/>
                    <a:pt x="1466" y="2195"/>
                    <a:pt x="1665" y="2341"/>
                  </a:cubicBezTo>
                  <a:cubicBezTo>
                    <a:pt x="1878" y="2502"/>
                    <a:pt x="1702" y="2271"/>
                    <a:pt x="1762" y="2251"/>
                  </a:cubicBezTo>
                  <a:cubicBezTo>
                    <a:pt x="1793" y="2239"/>
                    <a:pt x="1825" y="2276"/>
                    <a:pt x="1852" y="2266"/>
                  </a:cubicBezTo>
                  <a:cubicBezTo>
                    <a:pt x="1879" y="2256"/>
                    <a:pt x="1893" y="2206"/>
                    <a:pt x="1927" y="2191"/>
                  </a:cubicBezTo>
                  <a:cubicBezTo>
                    <a:pt x="1943" y="2182"/>
                    <a:pt x="2055" y="2176"/>
                    <a:pt x="2055" y="2176"/>
                  </a:cubicBezTo>
                  <a:cubicBezTo>
                    <a:pt x="2066" y="2141"/>
                    <a:pt x="2087" y="2137"/>
                    <a:pt x="2047" y="2123"/>
                  </a:cubicBezTo>
                  <a:cubicBezTo>
                    <a:pt x="1778" y="1806"/>
                    <a:pt x="682" y="1298"/>
                    <a:pt x="442" y="271"/>
                  </a:cubicBezTo>
                  <a:cubicBezTo>
                    <a:pt x="427" y="204"/>
                    <a:pt x="420" y="126"/>
                    <a:pt x="382" y="68"/>
                  </a:cubicBezTo>
                  <a:cubicBezTo>
                    <a:pt x="360" y="0"/>
                    <a:pt x="330" y="97"/>
                    <a:pt x="322" y="113"/>
                  </a:cubicBezTo>
                  <a:cubicBezTo>
                    <a:pt x="317" y="122"/>
                    <a:pt x="302" y="118"/>
                    <a:pt x="292" y="121"/>
                  </a:cubicBezTo>
                  <a:cubicBezTo>
                    <a:pt x="261" y="105"/>
                    <a:pt x="228" y="87"/>
                    <a:pt x="195" y="76"/>
                  </a:cubicBezTo>
                  <a:cubicBezTo>
                    <a:pt x="175" y="106"/>
                    <a:pt x="176" y="147"/>
                    <a:pt x="150" y="173"/>
                  </a:cubicBezTo>
                  <a:cubicBezTo>
                    <a:pt x="89" y="234"/>
                    <a:pt x="156" y="151"/>
                    <a:pt x="52" y="203"/>
                  </a:cubicBezTo>
                  <a:cubicBezTo>
                    <a:pt x="39" y="210"/>
                    <a:pt x="37" y="228"/>
                    <a:pt x="30" y="24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pPr marL="0" marR="0" lvl="0" indent="0" defTabSz="914400" eaLnBrk="0" fontAlgn="base" latinLnBrk="0" hangingPunct="0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>
                  <a:srgbClr val="3C58A1"/>
                </a:buClr>
                <a:buSzPct val="80000"/>
                <a:buFont typeface="Wingdings" pitchFamily="2" charset="2"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lavika" panose="02000000000000000000"/>
              </a:endParaRPr>
            </a:p>
          </p:txBody>
        </p:sp>
      </p:grpSp>
      <p:grpSp>
        <p:nvGrpSpPr>
          <p:cNvPr id="1108" name="Group 5">
            <a:extLst>
              <a:ext uri="{FF2B5EF4-FFF2-40B4-BE49-F238E27FC236}">
                <a16:creationId xmlns:a16="http://schemas.microsoft.com/office/drawing/2014/main" id="{AAE87B51-3D20-209F-4904-6AE8DF994FFF}"/>
              </a:ext>
            </a:extLst>
          </p:cNvPr>
          <p:cNvGrpSpPr>
            <a:grpSpLocks noChangeAspect="1"/>
          </p:cNvGrpSpPr>
          <p:nvPr>
            <p:custDataLst>
              <p:tags r:id="rId35"/>
            </p:custDataLst>
          </p:nvPr>
        </p:nvGrpSpPr>
        <p:grpSpPr bwMode="auto">
          <a:xfrm>
            <a:off x="5350344" y="5721743"/>
            <a:ext cx="258351" cy="270328"/>
            <a:chOff x="1117" y="1342"/>
            <a:chExt cx="2260" cy="2366"/>
          </a:xfrm>
          <a:solidFill>
            <a:srgbClr val="FF0000"/>
          </a:solidFill>
        </p:grpSpPr>
        <p:sp>
          <p:nvSpPr>
            <p:cNvPr id="1109" name="Freeform 6">
              <a:extLst>
                <a:ext uri="{FF2B5EF4-FFF2-40B4-BE49-F238E27FC236}">
                  <a16:creationId xmlns:a16="http://schemas.microsoft.com/office/drawing/2014/main" id="{9BBE0268-0B3C-6892-8161-1365CDEBB377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7" y="1342"/>
              <a:ext cx="2260" cy="2315"/>
            </a:xfrm>
            <a:custGeom>
              <a:avLst/>
              <a:gdLst>
                <a:gd name="T0" fmla="*/ 30 w 2260"/>
                <a:gd name="T1" fmla="*/ 181 h 2315"/>
                <a:gd name="T2" fmla="*/ 743 w 2260"/>
                <a:gd name="T3" fmla="*/ 1186 h 2315"/>
                <a:gd name="T4" fmla="*/ 1838 w 2260"/>
                <a:gd name="T5" fmla="*/ 2154 h 2315"/>
                <a:gd name="T6" fmla="*/ 1935 w 2260"/>
                <a:gd name="T7" fmla="*/ 2064 h 2315"/>
                <a:gd name="T8" fmla="*/ 2025 w 2260"/>
                <a:gd name="T9" fmla="*/ 2079 h 2315"/>
                <a:gd name="T10" fmla="*/ 2100 w 2260"/>
                <a:gd name="T11" fmla="*/ 2004 h 2315"/>
                <a:gd name="T12" fmla="*/ 2228 w 2260"/>
                <a:gd name="T13" fmla="*/ 1989 h 2315"/>
                <a:gd name="T14" fmla="*/ 2220 w 2260"/>
                <a:gd name="T15" fmla="*/ 1936 h 2315"/>
                <a:gd name="T16" fmla="*/ 1125 w 2260"/>
                <a:gd name="T17" fmla="*/ 1044 h 2315"/>
                <a:gd name="T18" fmla="*/ 540 w 2260"/>
                <a:gd name="T19" fmla="*/ 346 h 2315"/>
                <a:gd name="T20" fmla="*/ 360 w 2260"/>
                <a:gd name="T21" fmla="*/ 24 h 2315"/>
                <a:gd name="T22" fmla="*/ 315 w 2260"/>
                <a:gd name="T23" fmla="*/ 16 h 2315"/>
                <a:gd name="T24" fmla="*/ 263 w 2260"/>
                <a:gd name="T25" fmla="*/ 76 h 2315"/>
                <a:gd name="T26" fmla="*/ 270 w 2260"/>
                <a:gd name="T27" fmla="*/ 159 h 2315"/>
                <a:gd name="T28" fmla="*/ 195 w 2260"/>
                <a:gd name="T29" fmla="*/ 144 h 2315"/>
                <a:gd name="T30" fmla="*/ 143 w 2260"/>
                <a:gd name="T31" fmla="*/ 204 h 2315"/>
                <a:gd name="T32" fmla="*/ 30 w 2260"/>
                <a:gd name="T33" fmla="*/ 181 h 2315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w 2260"/>
                <a:gd name="T52" fmla="*/ 0 h 2315"/>
                <a:gd name="T53" fmla="*/ 2260 w 2260"/>
                <a:gd name="T54" fmla="*/ 2315 h 2315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T51" t="T52" r="T53" b="T54"/>
              <a:pathLst>
                <a:path w="2260" h="2315">
                  <a:moveTo>
                    <a:pt x="30" y="181"/>
                  </a:moveTo>
                  <a:cubicBezTo>
                    <a:pt x="0" y="361"/>
                    <a:pt x="442" y="857"/>
                    <a:pt x="743" y="1186"/>
                  </a:cubicBezTo>
                  <a:cubicBezTo>
                    <a:pt x="1044" y="1515"/>
                    <a:pt x="1639" y="2008"/>
                    <a:pt x="1838" y="2154"/>
                  </a:cubicBezTo>
                  <a:cubicBezTo>
                    <a:pt x="2051" y="2315"/>
                    <a:pt x="1875" y="2084"/>
                    <a:pt x="1935" y="2064"/>
                  </a:cubicBezTo>
                  <a:cubicBezTo>
                    <a:pt x="1966" y="2052"/>
                    <a:pt x="1998" y="2089"/>
                    <a:pt x="2025" y="2079"/>
                  </a:cubicBezTo>
                  <a:cubicBezTo>
                    <a:pt x="2052" y="2069"/>
                    <a:pt x="2066" y="2019"/>
                    <a:pt x="2100" y="2004"/>
                  </a:cubicBezTo>
                  <a:cubicBezTo>
                    <a:pt x="2116" y="1995"/>
                    <a:pt x="2228" y="1989"/>
                    <a:pt x="2228" y="1989"/>
                  </a:cubicBezTo>
                  <a:cubicBezTo>
                    <a:pt x="2239" y="1954"/>
                    <a:pt x="2260" y="1950"/>
                    <a:pt x="2220" y="1936"/>
                  </a:cubicBezTo>
                  <a:cubicBezTo>
                    <a:pt x="2010" y="1745"/>
                    <a:pt x="1404" y="1343"/>
                    <a:pt x="1125" y="1044"/>
                  </a:cubicBezTo>
                  <a:cubicBezTo>
                    <a:pt x="845" y="779"/>
                    <a:pt x="639" y="464"/>
                    <a:pt x="540" y="346"/>
                  </a:cubicBezTo>
                  <a:cubicBezTo>
                    <a:pt x="413" y="176"/>
                    <a:pt x="390" y="50"/>
                    <a:pt x="360" y="24"/>
                  </a:cubicBezTo>
                  <a:cubicBezTo>
                    <a:pt x="355" y="33"/>
                    <a:pt x="325" y="13"/>
                    <a:pt x="315" y="16"/>
                  </a:cubicBezTo>
                  <a:cubicBezTo>
                    <a:pt x="284" y="0"/>
                    <a:pt x="296" y="87"/>
                    <a:pt x="263" y="76"/>
                  </a:cubicBezTo>
                  <a:cubicBezTo>
                    <a:pt x="243" y="106"/>
                    <a:pt x="296" y="133"/>
                    <a:pt x="270" y="159"/>
                  </a:cubicBezTo>
                  <a:cubicBezTo>
                    <a:pt x="209" y="220"/>
                    <a:pt x="248" y="152"/>
                    <a:pt x="195" y="144"/>
                  </a:cubicBezTo>
                  <a:cubicBezTo>
                    <a:pt x="171" y="144"/>
                    <a:pt x="170" y="198"/>
                    <a:pt x="143" y="204"/>
                  </a:cubicBezTo>
                  <a:cubicBezTo>
                    <a:pt x="116" y="210"/>
                    <a:pt x="54" y="186"/>
                    <a:pt x="30" y="18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pPr marL="0" marR="0" lvl="0" indent="0" defTabSz="914400" eaLnBrk="0" fontAlgn="base" latinLnBrk="0" hangingPunct="0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>
                  <a:srgbClr val="3C58A1"/>
                </a:buClr>
                <a:buSzPct val="80000"/>
                <a:buFont typeface="Wingdings" pitchFamily="2" charset="2"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lavika" panose="02000000000000000000"/>
              </a:endParaRPr>
            </a:p>
          </p:txBody>
        </p:sp>
        <p:sp>
          <p:nvSpPr>
            <p:cNvPr id="1110" name="Freeform 7">
              <a:extLst>
                <a:ext uri="{FF2B5EF4-FFF2-40B4-BE49-F238E27FC236}">
                  <a16:creationId xmlns:a16="http://schemas.microsoft.com/office/drawing/2014/main" id="{4D137FF1-5E54-082C-22B0-F4D6FDB798F9}"/>
                </a:ext>
              </a:extLst>
            </p:cNvPr>
            <p:cNvSpPr>
              <a:spLocks/>
            </p:cNvSpPr>
            <p:nvPr/>
          </p:nvSpPr>
          <p:spPr bwMode="auto">
            <a:xfrm flipV="1">
              <a:off x="1177" y="1394"/>
              <a:ext cx="1922" cy="2314"/>
            </a:xfrm>
            <a:custGeom>
              <a:avLst/>
              <a:gdLst>
                <a:gd name="T0" fmla="*/ 26 w 2087"/>
                <a:gd name="T1" fmla="*/ 206 h 2502"/>
                <a:gd name="T2" fmla="*/ 483 w 2087"/>
                <a:gd name="T3" fmla="*/ 1175 h 2502"/>
                <a:gd name="T4" fmla="*/ 1412 w 2087"/>
                <a:gd name="T5" fmla="*/ 2002 h 2502"/>
                <a:gd name="T6" fmla="*/ 1495 w 2087"/>
                <a:gd name="T7" fmla="*/ 1926 h 2502"/>
                <a:gd name="T8" fmla="*/ 1571 w 2087"/>
                <a:gd name="T9" fmla="*/ 1939 h 2502"/>
                <a:gd name="T10" fmla="*/ 1635 w 2087"/>
                <a:gd name="T11" fmla="*/ 1874 h 2502"/>
                <a:gd name="T12" fmla="*/ 1743 w 2087"/>
                <a:gd name="T13" fmla="*/ 1861 h 2502"/>
                <a:gd name="T14" fmla="*/ 1736 w 2087"/>
                <a:gd name="T15" fmla="*/ 1816 h 2502"/>
                <a:gd name="T16" fmla="*/ 375 w 2087"/>
                <a:gd name="T17" fmla="*/ 232 h 2502"/>
                <a:gd name="T18" fmla="*/ 324 w 2087"/>
                <a:gd name="T19" fmla="*/ 58 h 2502"/>
                <a:gd name="T20" fmla="*/ 274 w 2087"/>
                <a:gd name="T21" fmla="*/ 97 h 2502"/>
                <a:gd name="T22" fmla="*/ 248 w 2087"/>
                <a:gd name="T23" fmla="*/ 104 h 2502"/>
                <a:gd name="T24" fmla="*/ 166 w 2087"/>
                <a:gd name="T25" fmla="*/ 65 h 2502"/>
                <a:gd name="T26" fmla="*/ 127 w 2087"/>
                <a:gd name="T27" fmla="*/ 148 h 2502"/>
                <a:gd name="T28" fmla="*/ 44 w 2087"/>
                <a:gd name="T29" fmla="*/ 174 h 2502"/>
                <a:gd name="T30" fmla="*/ 26 w 2087"/>
                <a:gd name="T31" fmla="*/ 206 h 2502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2087"/>
                <a:gd name="T49" fmla="*/ 0 h 2502"/>
                <a:gd name="T50" fmla="*/ 2087 w 2087"/>
                <a:gd name="T51" fmla="*/ 2502 h 2502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2087" h="2502">
                  <a:moveTo>
                    <a:pt x="30" y="241"/>
                  </a:moveTo>
                  <a:cubicBezTo>
                    <a:pt x="0" y="421"/>
                    <a:pt x="297" y="1023"/>
                    <a:pt x="570" y="1373"/>
                  </a:cubicBezTo>
                  <a:cubicBezTo>
                    <a:pt x="843" y="1723"/>
                    <a:pt x="1466" y="2195"/>
                    <a:pt x="1665" y="2341"/>
                  </a:cubicBezTo>
                  <a:cubicBezTo>
                    <a:pt x="1878" y="2502"/>
                    <a:pt x="1702" y="2271"/>
                    <a:pt x="1762" y="2251"/>
                  </a:cubicBezTo>
                  <a:cubicBezTo>
                    <a:pt x="1793" y="2239"/>
                    <a:pt x="1825" y="2276"/>
                    <a:pt x="1852" y="2266"/>
                  </a:cubicBezTo>
                  <a:cubicBezTo>
                    <a:pt x="1879" y="2256"/>
                    <a:pt x="1893" y="2206"/>
                    <a:pt x="1927" y="2191"/>
                  </a:cubicBezTo>
                  <a:cubicBezTo>
                    <a:pt x="1943" y="2182"/>
                    <a:pt x="2055" y="2176"/>
                    <a:pt x="2055" y="2176"/>
                  </a:cubicBezTo>
                  <a:cubicBezTo>
                    <a:pt x="2066" y="2141"/>
                    <a:pt x="2087" y="2137"/>
                    <a:pt x="2047" y="2123"/>
                  </a:cubicBezTo>
                  <a:cubicBezTo>
                    <a:pt x="1778" y="1806"/>
                    <a:pt x="682" y="1298"/>
                    <a:pt x="442" y="271"/>
                  </a:cubicBezTo>
                  <a:cubicBezTo>
                    <a:pt x="427" y="204"/>
                    <a:pt x="420" y="126"/>
                    <a:pt x="382" y="68"/>
                  </a:cubicBezTo>
                  <a:cubicBezTo>
                    <a:pt x="360" y="0"/>
                    <a:pt x="330" y="97"/>
                    <a:pt x="322" y="113"/>
                  </a:cubicBezTo>
                  <a:cubicBezTo>
                    <a:pt x="317" y="122"/>
                    <a:pt x="302" y="118"/>
                    <a:pt x="292" y="121"/>
                  </a:cubicBezTo>
                  <a:cubicBezTo>
                    <a:pt x="261" y="105"/>
                    <a:pt x="228" y="87"/>
                    <a:pt x="195" y="76"/>
                  </a:cubicBezTo>
                  <a:cubicBezTo>
                    <a:pt x="175" y="106"/>
                    <a:pt x="176" y="147"/>
                    <a:pt x="150" y="173"/>
                  </a:cubicBezTo>
                  <a:cubicBezTo>
                    <a:pt x="89" y="234"/>
                    <a:pt x="156" y="151"/>
                    <a:pt x="52" y="203"/>
                  </a:cubicBezTo>
                  <a:cubicBezTo>
                    <a:pt x="39" y="210"/>
                    <a:pt x="37" y="228"/>
                    <a:pt x="30" y="24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pPr marL="0" marR="0" lvl="0" indent="0" defTabSz="914400" eaLnBrk="0" fontAlgn="base" latinLnBrk="0" hangingPunct="0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>
                  <a:srgbClr val="3C58A1"/>
                </a:buClr>
                <a:buSzPct val="80000"/>
                <a:buFont typeface="Wingdings" pitchFamily="2" charset="2"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lavika" panose="02000000000000000000"/>
              </a:endParaRPr>
            </a:p>
          </p:txBody>
        </p:sp>
      </p:grpSp>
      <p:grpSp>
        <p:nvGrpSpPr>
          <p:cNvPr id="1111" name="Group 5">
            <a:extLst>
              <a:ext uri="{FF2B5EF4-FFF2-40B4-BE49-F238E27FC236}">
                <a16:creationId xmlns:a16="http://schemas.microsoft.com/office/drawing/2014/main" id="{47774E83-F2E9-4175-4787-2F3053618EF9}"/>
              </a:ext>
            </a:extLst>
          </p:cNvPr>
          <p:cNvGrpSpPr>
            <a:grpSpLocks noChangeAspect="1"/>
          </p:cNvGrpSpPr>
          <p:nvPr>
            <p:custDataLst>
              <p:tags r:id="rId36"/>
            </p:custDataLst>
          </p:nvPr>
        </p:nvGrpSpPr>
        <p:grpSpPr bwMode="auto">
          <a:xfrm>
            <a:off x="5350344" y="5484585"/>
            <a:ext cx="258351" cy="270328"/>
            <a:chOff x="1117" y="1342"/>
            <a:chExt cx="2260" cy="2366"/>
          </a:xfrm>
          <a:solidFill>
            <a:srgbClr val="FF0000"/>
          </a:solidFill>
        </p:grpSpPr>
        <p:sp>
          <p:nvSpPr>
            <p:cNvPr id="1112" name="Freeform 6">
              <a:extLst>
                <a:ext uri="{FF2B5EF4-FFF2-40B4-BE49-F238E27FC236}">
                  <a16:creationId xmlns:a16="http://schemas.microsoft.com/office/drawing/2014/main" id="{C19FD9C4-E1C2-7DA4-BCED-FB741FD934F4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7" y="1342"/>
              <a:ext cx="2260" cy="2315"/>
            </a:xfrm>
            <a:custGeom>
              <a:avLst/>
              <a:gdLst>
                <a:gd name="T0" fmla="*/ 30 w 2260"/>
                <a:gd name="T1" fmla="*/ 181 h 2315"/>
                <a:gd name="T2" fmla="*/ 743 w 2260"/>
                <a:gd name="T3" fmla="*/ 1186 h 2315"/>
                <a:gd name="T4" fmla="*/ 1838 w 2260"/>
                <a:gd name="T5" fmla="*/ 2154 h 2315"/>
                <a:gd name="T6" fmla="*/ 1935 w 2260"/>
                <a:gd name="T7" fmla="*/ 2064 h 2315"/>
                <a:gd name="T8" fmla="*/ 2025 w 2260"/>
                <a:gd name="T9" fmla="*/ 2079 h 2315"/>
                <a:gd name="T10" fmla="*/ 2100 w 2260"/>
                <a:gd name="T11" fmla="*/ 2004 h 2315"/>
                <a:gd name="T12" fmla="*/ 2228 w 2260"/>
                <a:gd name="T13" fmla="*/ 1989 h 2315"/>
                <a:gd name="T14" fmla="*/ 2220 w 2260"/>
                <a:gd name="T15" fmla="*/ 1936 h 2315"/>
                <a:gd name="T16" fmla="*/ 1125 w 2260"/>
                <a:gd name="T17" fmla="*/ 1044 h 2315"/>
                <a:gd name="T18" fmla="*/ 540 w 2260"/>
                <a:gd name="T19" fmla="*/ 346 h 2315"/>
                <a:gd name="T20" fmla="*/ 360 w 2260"/>
                <a:gd name="T21" fmla="*/ 24 h 2315"/>
                <a:gd name="T22" fmla="*/ 315 w 2260"/>
                <a:gd name="T23" fmla="*/ 16 h 2315"/>
                <a:gd name="T24" fmla="*/ 263 w 2260"/>
                <a:gd name="T25" fmla="*/ 76 h 2315"/>
                <a:gd name="T26" fmla="*/ 270 w 2260"/>
                <a:gd name="T27" fmla="*/ 159 h 2315"/>
                <a:gd name="T28" fmla="*/ 195 w 2260"/>
                <a:gd name="T29" fmla="*/ 144 h 2315"/>
                <a:gd name="T30" fmla="*/ 143 w 2260"/>
                <a:gd name="T31" fmla="*/ 204 h 2315"/>
                <a:gd name="T32" fmla="*/ 30 w 2260"/>
                <a:gd name="T33" fmla="*/ 181 h 2315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w 2260"/>
                <a:gd name="T52" fmla="*/ 0 h 2315"/>
                <a:gd name="T53" fmla="*/ 2260 w 2260"/>
                <a:gd name="T54" fmla="*/ 2315 h 2315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T51" t="T52" r="T53" b="T54"/>
              <a:pathLst>
                <a:path w="2260" h="2315">
                  <a:moveTo>
                    <a:pt x="30" y="181"/>
                  </a:moveTo>
                  <a:cubicBezTo>
                    <a:pt x="0" y="361"/>
                    <a:pt x="442" y="857"/>
                    <a:pt x="743" y="1186"/>
                  </a:cubicBezTo>
                  <a:cubicBezTo>
                    <a:pt x="1044" y="1515"/>
                    <a:pt x="1639" y="2008"/>
                    <a:pt x="1838" y="2154"/>
                  </a:cubicBezTo>
                  <a:cubicBezTo>
                    <a:pt x="2051" y="2315"/>
                    <a:pt x="1875" y="2084"/>
                    <a:pt x="1935" y="2064"/>
                  </a:cubicBezTo>
                  <a:cubicBezTo>
                    <a:pt x="1966" y="2052"/>
                    <a:pt x="1998" y="2089"/>
                    <a:pt x="2025" y="2079"/>
                  </a:cubicBezTo>
                  <a:cubicBezTo>
                    <a:pt x="2052" y="2069"/>
                    <a:pt x="2066" y="2019"/>
                    <a:pt x="2100" y="2004"/>
                  </a:cubicBezTo>
                  <a:cubicBezTo>
                    <a:pt x="2116" y="1995"/>
                    <a:pt x="2228" y="1989"/>
                    <a:pt x="2228" y="1989"/>
                  </a:cubicBezTo>
                  <a:cubicBezTo>
                    <a:pt x="2239" y="1954"/>
                    <a:pt x="2260" y="1950"/>
                    <a:pt x="2220" y="1936"/>
                  </a:cubicBezTo>
                  <a:cubicBezTo>
                    <a:pt x="2010" y="1745"/>
                    <a:pt x="1404" y="1343"/>
                    <a:pt x="1125" y="1044"/>
                  </a:cubicBezTo>
                  <a:cubicBezTo>
                    <a:pt x="845" y="779"/>
                    <a:pt x="639" y="464"/>
                    <a:pt x="540" y="346"/>
                  </a:cubicBezTo>
                  <a:cubicBezTo>
                    <a:pt x="413" y="176"/>
                    <a:pt x="390" y="50"/>
                    <a:pt x="360" y="24"/>
                  </a:cubicBezTo>
                  <a:cubicBezTo>
                    <a:pt x="355" y="33"/>
                    <a:pt x="325" y="13"/>
                    <a:pt x="315" y="16"/>
                  </a:cubicBezTo>
                  <a:cubicBezTo>
                    <a:pt x="284" y="0"/>
                    <a:pt x="296" y="87"/>
                    <a:pt x="263" y="76"/>
                  </a:cubicBezTo>
                  <a:cubicBezTo>
                    <a:pt x="243" y="106"/>
                    <a:pt x="296" y="133"/>
                    <a:pt x="270" y="159"/>
                  </a:cubicBezTo>
                  <a:cubicBezTo>
                    <a:pt x="209" y="220"/>
                    <a:pt x="248" y="152"/>
                    <a:pt x="195" y="144"/>
                  </a:cubicBezTo>
                  <a:cubicBezTo>
                    <a:pt x="171" y="144"/>
                    <a:pt x="170" y="198"/>
                    <a:pt x="143" y="204"/>
                  </a:cubicBezTo>
                  <a:cubicBezTo>
                    <a:pt x="116" y="210"/>
                    <a:pt x="54" y="186"/>
                    <a:pt x="30" y="18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pPr marL="0" marR="0" lvl="0" indent="0" defTabSz="914400" eaLnBrk="0" fontAlgn="base" latinLnBrk="0" hangingPunct="0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>
                  <a:srgbClr val="3C58A1"/>
                </a:buClr>
                <a:buSzPct val="80000"/>
                <a:buFont typeface="Wingdings" pitchFamily="2" charset="2"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lavika" panose="02000000000000000000"/>
              </a:endParaRPr>
            </a:p>
          </p:txBody>
        </p:sp>
        <p:sp>
          <p:nvSpPr>
            <p:cNvPr id="1113" name="Freeform 7">
              <a:extLst>
                <a:ext uri="{FF2B5EF4-FFF2-40B4-BE49-F238E27FC236}">
                  <a16:creationId xmlns:a16="http://schemas.microsoft.com/office/drawing/2014/main" id="{971B3C14-AEF5-3D15-A3CD-EF40B73A05AC}"/>
                </a:ext>
              </a:extLst>
            </p:cNvPr>
            <p:cNvSpPr>
              <a:spLocks/>
            </p:cNvSpPr>
            <p:nvPr/>
          </p:nvSpPr>
          <p:spPr bwMode="auto">
            <a:xfrm flipV="1">
              <a:off x="1177" y="1394"/>
              <a:ext cx="1922" cy="2314"/>
            </a:xfrm>
            <a:custGeom>
              <a:avLst/>
              <a:gdLst>
                <a:gd name="T0" fmla="*/ 26 w 2087"/>
                <a:gd name="T1" fmla="*/ 206 h 2502"/>
                <a:gd name="T2" fmla="*/ 483 w 2087"/>
                <a:gd name="T3" fmla="*/ 1175 h 2502"/>
                <a:gd name="T4" fmla="*/ 1412 w 2087"/>
                <a:gd name="T5" fmla="*/ 2002 h 2502"/>
                <a:gd name="T6" fmla="*/ 1495 w 2087"/>
                <a:gd name="T7" fmla="*/ 1926 h 2502"/>
                <a:gd name="T8" fmla="*/ 1571 w 2087"/>
                <a:gd name="T9" fmla="*/ 1939 h 2502"/>
                <a:gd name="T10" fmla="*/ 1635 w 2087"/>
                <a:gd name="T11" fmla="*/ 1874 h 2502"/>
                <a:gd name="T12" fmla="*/ 1743 w 2087"/>
                <a:gd name="T13" fmla="*/ 1861 h 2502"/>
                <a:gd name="T14" fmla="*/ 1736 w 2087"/>
                <a:gd name="T15" fmla="*/ 1816 h 2502"/>
                <a:gd name="T16" fmla="*/ 375 w 2087"/>
                <a:gd name="T17" fmla="*/ 232 h 2502"/>
                <a:gd name="T18" fmla="*/ 324 w 2087"/>
                <a:gd name="T19" fmla="*/ 58 h 2502"/>
                <a:gd name="T20" fmla="*/ 274 w 2087"/>
                <a:gd name="T21" fmla="*/ 97 h 2502"/>
                <a:gd name="T22" fmla="*/ 248 w 2087"/>
                <a:gd name="T23" fmla="*/ 104 h 2502"/>
                <a:gd name="T24" fmla="*/ 166 w 2087"/>
                <a:gd name="T25" fmla="*/ 65 h 2502"/>
                <a:gd name="T26" fmla="*/ 127 w 2087"/>
                <a:gd name="T27" fmla="*/ 148 h 2502"/>
                <a:gd name="T28" fmla="*/ 44 w 2087"/>
                <a:gd name="T29" fmla="*/ 174 h 2502"/>
                <a:gd name="T30" fmla="*/ 26 w 2087"/>
                <a:gd name="T31" fmla="*/ 206 h 2502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2087"/>
                <a:gd name="T49" fmla="*/ 0 h 2502"/>
                <a:gd name="T50" fmla="*/ 2087 w 2087"/>
                <a:gd name="T51" fmla="*/ 2502 h 2502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2087" h="2502">
                  <a:moveTo>
                    <a:pt x="30" y="241"/>
                  </a:moveTo>
                  <a:cubicBezTo>
                    <a:pt x="0" y="421"/>
                    <a:pt x="297" y="1023"/>
                    <a:pt x="570" y="1373"/>
                  </a:cubicBezTo>
                  <a:cubicBezTo>
                    <a:pt x="843" y="1723"/>
                    <a:pt x="1466" y="2195"/>
                    <a:pt x="1665" y="2341"/>
                  </a:cubicBezTo>
                  <a:cubicBezTo>
                    <a:pt x="1878" y="2502"/>
                    <a:pt x="1702" y="2271"/>
                    <a:pt x="1762" y="2251"/>
                  </a:cubicBezTo>
                  <a:cubicBezTo>
                    <a:pt x="1793" y="2239"/>
                    <a:pt x="1825" y="2276"/>
                    <a:pt x="1852" y="2266"/>
                  </a:cubicBezTo>
                  <a:cubicBezTo>
                    <a:pt x="1879" y="2256"/>
                    <a:pt x="1893" y="2206"/>
                    <a:pt x="1927" y="2191"/>
                  </a:cubicBezTo>
                  <a:cubicBezTo>
                    <a:pt x="1943" y="2182"/>
                    <a:pt x="2055" y="2176"/>
                    <a:pt x="2055" y="2176"/>
                  </a:cubicBezTo>
                  <a:cubicBezTo>
                    <a:pt x="2066" y="2141"/>
                    <a:pt x="2087" y="2137"/>
                    <a:pt x="2047" y="2123"/>
                  </a:cubicBezTo>
                  <a:cubicBezTo>
                    <a:pt x="1778" y="1806"/>
                    <a:pt x="682" y="1298"/>
                    <a:pt x="442" y="271"/>
                  </a:cubicBezTo>
                  <a:cubicBezTo>
                    <a:pt x="427" y="204"/>
                    <a:pt x="420" y="126"/>
                    <a:pt x="382" y="68"/>
                  </a:cubicBezTo>
                  <a:cubicBezTo>
                    <a:pt x="360" y="0"/>
                    <a:pt x="330" y="97"/>
                    <a:pt x="322" y="113"/>
                  </a:cubicBezTo>
                  <a:cubicBezTo>
                    <a:pt x="317" y="122"/>
                    <a:pt x="302" y="118"/>
                    <a:pt x="292" y="121"/>
                  </a:cubicBezTo>
                  <a:cubicBezTo>
                    <a:pt x="261" y="105"/>
                    <a:pt x="228" y="87"/>
                    <a:pt x="195" y="76"/>
                  </a:cubicBezTo>
                  <a:cubicBezTo>
                    <a:pt x="175" y="106"/>
                    <a:pt x="176" y="147"/>
                    <a:pt x="150" y="173"/>
                  </a:cubicBezTo>
                  <a:cubicBezTo>
                    <a:pt x="89" y="234"/>
                    <a:pt x="156" y="151"/>
                    <a:pt x="52" y="203"/>
                  </a:cubicBezTo>
                  <a:cubicBezTo>
                    <a:pt x="39" y="210"/>
                    <a:pt x="37" y="228"/>
                    <a:pt x="30" y="24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pPr marL="0" marR="0" lvl="0" indent="0" defTabSz="914400" eaLnBrk="0" fontAlgn="base" latinLnBrk="0" hangingPunct="0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>
                  <a:srgbClr val="3C58A1"/>
                </a:buClr>
                <a:buSzPct val="80000"/>
                <a:buFont typeface="Wingdings" pitchFamily="2" charset="2"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lavika" panose="02000000000000000000"/>
              </a:endParaRPr>
            </a:p>
          </p:txBody>
        </p:sp>
      </p:grpSp>
      <p:pic>
        <p:nvPicPr>
          <p:cNvPr id="1115" name="Picture 4" descr="Internal Icons - Free SVG &amp; PNG Internal Images - Noun Project">
            <a:extLst>
              <a:ext uri="{FF2B5EF4-FFF2-40B4-BE49-F238E27FC236}">
                <a16:creationId xmlns:a16="http://schemas.microsoft.com/office/drawing/2014/main" id="{065445D7-7C8C-6D2F-60D7-A770214BB6D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24600" y="4798416"/>
            <a:ext cx="459221" cy="4592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24" name="Picture 2" descr="External Link Icon Png #320586 - Free Icons Library">
            <a:extLst>
              <a:ext uri="{FF2B5EF4-FFF2-40B4-BE49-F238E27FC236}">
                <a16:creationId xmlns:a16="http://schemas.microsoft.com/office/drawing/2014/main" id="{BB06BC38-ABA0-A93A-19C8-CBAFAD851A5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24600" y="2652369"/>
            <a:ext cx="459221" cy="4592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132" name="Gruppieren 253">
            <a:extLst>
              <a:ext uri="{FF2B5EF4-FFF2-40B4-BE49-F238E27FC236}">
                <a16:creationId xmlns:a16="http://schemas.microsoft.com/office/drawing/2014/main" id="{A6370DFC-FF4A-F28F-AB30-1D5EBF6F6AFB}"/>
              </a:ext>
            </a:extLst>
          </p:cNvPr>
          <p:cNvGrpSpPr/>
          <p:nvPr/>
        </p:nvGrpSpPr>
        <p:grpSpPr>
          <a:xfrm>
            <a:off x="7966272" y="1950055"/>
            <a:ext cx="224648" cy="224648"/>
            <a:chOff x="9787094" y="3428364"/>
            <a:chExt cx="436765" cy="436765"/>
          </a:xfrm>
        </p:grpSpPr>
        <p:sp>
          <p:nvSpPr>
            <p:cNvPr id="1133" name="Oval 51">
              <a:extLst>
                <a:ext uri="{FF2B5EF4-FFF2-40B4-BE49-F238E27FC236}">
                  <a16:creationId xmlns:a16="http://schemas.microsoft.com/office/drawing/2014/main" id="{6C6A7274-A36A-A942-48ED-9038223D6F3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787094" y="3428364"/>
              <a:ext cx="436765" cy="436765"/>
            </a:xfrm>
            <a:prstGeom prst="ellipse">
              <a:avLst/>
            </a:prstGeom>
            <a:solidFill>
              <a:srgbClr val="2C973E"/>
            </a:solidFill>
            <a:ln w="12700">
              <a:noFill/>
              <a:round/>
              <a:headEnd/>
              <a:tailEnd/>
            </a:ln>
          </p:spPr>
          <p:txBody>
            <a:bodyPr wrap="none" lIns="36000" tIns="36000" rIns="36000" bIns="36000" anchor="ctr"/>
            <a:lstStyle/>
            <a:p>
              <a:pPr marL="0" marR="0" lvl="0" indent="0" algn="ctr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lavika" panose="02000000000000000000"/>
              </a:endParaRPr>
            </a:p>
          </p:txBody>
        </p:sp>
        <p:pic>
          <p:nvPicPr>
            <p:cNvPr id="1134" name="Grafik 252" descr="Daumen-hoch-Zeichen">
              <a:extLst>
                <a:ext uri="{FF2B5EF4-FFF2-40B4-BE49-F238E27FC236}">
                  <a16:creationId xmlns:a16="http://schemas.microsoft.com/office/drawing/2014/main" id="{3DF7C23E-FCAF-B5DC-B5F4-30A65F0AA85F}"/>
                </a:ext>
              </a:extLst>
            </p:cNvPr>
            <p:cNvPicPr>
              <a:picLocks noChangeAspect="1"/>
            </p:cNvPicPr>
            <p:nvPr/>
          </p:nvPicPr>
          <p:blipFill>
            <a:blip r:embed="rId42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3"/>
                </a:ext>
              </a:extLst>
            </a:blip>
            <a:stretch>
              <a:fillRect/>
            </a:stretch>
          </p:blipFill>
          <p:spPr>
            <a:xfrm>
              <a:off x="9838151" y="3455704"/>
              <a:ext cx="341444" cy="341444"/>
            </a:xfrm>
            <a:prstGeom prst="rect">
              <a:avLst/>
            </a:prstGeom>
          </p:spPr>
        </p:pic>
      </p:grpSp>
      <p:grpSp>
        <p:nvGrpSpPr>
          <p:cNvPr id="1141" name="Gruppieren 253">
            <a:extLst>
              <a:ext uri="{FF2B5EF4-FFF2-40B4-BE49-F238E27FC236}">
                <a16:creationId xmlns:a16="http://schemas.microsoft.com/office/drawing/2014/main" id="{2047DFEA-373E-FEEB-3E73-6C34C72B36A8}"/>
              </a:ext>
            </a:extLst>
          </p:cNvPr>
          <p:cNvGrpSpPr/>
          <p:nvPr/>
        </p:nvGrpSpPr>
        <p:grpSpPr>
          <a:xfrm>
            <a:off x="7966272" y="2661529"/>
            <a:ext cx="224648" cy="224648"/>
            <a:chOff x="9787094" y="3428364"/>
            <a:chExt cx="436765" cy="436765"/>
          </a:xfrm>
        </p:grpSpPr>
        <p:sp>
          <p:nvSpPr>
            <p:cNvPr id="1142" name="Oval 51">
              <a:extLst>
                <a:ext uri="{FF2B5EF4-FFF2-40B4-BE49-F238E27FC236}">
                  <a16:creationId xmlns:a16="http://schemas.microsoft.com/office/drawing/2014/main" id="{3BF5EE4B-97EE-6515-04EE-179D39B3BF5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787094" y="3428364"/>
              <a:ext cx="436765" cy="436765"/>
            </a:xfrm>
            <a:prstGeom prst="ellipse">
              <a:avLst/>
            </a:prstGeom>
            <a:solidFill>
              <a:srgbClr val="2C973E"/>
            </a:solidFill>
            <a:ln w="12700">
              <a:noFill/>
              <a:round/>
              <a:headEnd/>
              <a:tailEnd/>
            </a:ln>
          </p:spPr>
          <p:txBody>
            <a:bodyPr wrap="none" lIns="36000" tIns="36000" rIns="36000" bIns="36000" anchor="ctr"/>
            <a:lstStyle/>
            <a:p>
              <a:pPr marL="0" marR="0" lvl="0" indent="0" algn="ctr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lavika" panose="02000000000000000000"/>
              </a:endParaRPr>
            </a:p>
          </p:txBody>
        </p:sp>
        <p:pic>
          <p:nvPicPr>
            <p:cNvPr id="1143" name="Grafik 252" descr="Daumen-hoch-Zeichen">
              <a:extLst>
                <a:ext uri="{FF2B5EF4-FFF2-40B4-BE49-F238E27FC236}">
                  <a16:creationId xmlns:a16="http://schemas.microsoft.com/office/drawing/2014/main" id="{CAE746EF-878F-EC8E-B834-AFFEFB77054D}"/>
                </a:ext>
              </a:extLst>
            </p:cNvPr>
            <p:cNvPicPr>
              <a:picLocks noChangeAspect="1"/>
            </p:cNvPicPr>
            <p:nvPr/>
          </p:nvPicPr>
          <p:blipFill>
            <a:blip r:embed="rId42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3"/>
                </a:ext>
              </a:extLst>
            </a:blip>
            <a:stretch>
              <a:fillRect/>
            </a:stretch>
          </p:blipFill>
          <p:spPr>
            <a:xfrm>
              <a:off x="9838151" y="3455704"/>
              <a:ext cx="341444" cy="341444"/>
            </a:xfrm>
            <a:prstGeom prst="rect">
              <a:avLst/>
            </a:prstGeom>
          </p:spPr>
        </p:pic>
      </p:grpSp>
      <p:grpSp>
        <p:nvGrpSpPr>
          <p:cNvPr id="1144" name="Gruppieren 253">
            <a:extLst>
              <a:ext uri="{FF2B5EF4-FFF2-40B4-BE49-F238E27FC236}">
                <a16:creationId xmlns:a16="http://schemas.microsoft.com/office/drawing/2014/main" id="{5385BCB6-73E3-DBDD-5A5E-1917A072CEBF}"/>
              </a:ext>
            </a:extLst>
          </p:cNvPr>
          <p:cNvGrpSpPr/>
          <p:nvPr/>
        </p:nvGrpSpPr>
        <p:grpSpPr>
          <a:xfrm>
            <a:off x="7966272" y="2898687"/>
            <a:ext cx="224648" cy="224648"/>
            <a:chOff x="9787094" y="3428364"/>
            <a:chExt cx="436765" cy="436765"/>
          </a:xfrm>
        </p:grpSpPr>
        <p:sp>
          <p:nvSpPr>
            <p:cNvPr id="1145" name="Oval 51">
              <a:extLst>
                <a:ext uri="{FF2B5EF4-FFF2-40B4-BE49-F238E27FC236}">
                  <a16:creationId xmlns:a16="http://schemas.microsoft.com/office/drawing/2014/main" id="{CB31A23C-F3D8-8A48-3B71-BDE87371EE9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787094" y="3428364"/>
              <a:ext cx="436765" cy="436765"/>
            </a:xfrm>
            <a:prstGeom prst="ellipse">
              <a:avLst/>
            </a:prstGeom>
            <a:solidFill>
              <a:srgbClr val="2C973E"/>
            </a:solidFill>
            <a:ln w="12700">
              <a:noFill/>
              <a:round/>
              <a:headEnd/>
              <a:tailEnd/>
            </a:ln>
          </p:spPr>
          <p:txBody>
            <a:bodyPr wrap="none" lIns="36000" tIns="36000" rIns="36000" bIns="36000" anchor="ctr"/>
            <a:lstStyle/>
            <a:p>
              <a:pPr marL="0" marR="0" lvl="0" indent="0" algn="ctr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lavika" panose="02000000000000000000"/>
              </a:endParaRPr>
            </a:p>
          </p:txBody>
        </p:sp>
        <p:pic>
          <p:nvPicPr>
            <p:cNvPr id="1146" name="Grafik 252" descr="Daumen-hoch-Zeichen">
              <a:extLst>
                <a:ext uri="{FF2B5EF4-FFF2-40B4-BE49-F238E27FC236}">
                  <a16:creationId xmlns:a16="http://schemas.microsoft.com/office/drawing/2014/main" id="{FF8507DA-3BE2-98B4-2700-23032D23D77C}"/>
                </a:ext>
              </a:extLst>
            </p:cNvPr>
            <p:cNvPicPr>
              <a:picLocks noChangeAspect="1"/>
            </p:cNvPicPr>
            <p:nvPr/>
          </p:nvPicPr>
          <p:blipFill>
            <a:blip r:embed="rId42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3"/>
                </a:ext>
              </a:extLst>
            </a:blip>
            <a:stretch>
              <a:fillRect/>
            </a:stretch>
          </p:blipFill>
          <p:spPr>
            <a:xfrm>
              <a:off x="9838151" y="3455704"/>
              <a:ext cx="341444" cy="341444"/>
            </a:xfrm>
            <a:prstGeom prst="rect">
              <a:avLst/>
            </a:prstGeom>
          </p:spPr>
        </p:pic>
      </p:grpSp>
      <p:grpSp>
        <p:nvGrpSpPr>
          <p:cNvPr id="1150" name="Gruppieren 253">
            <a:extLst>
              <a:ext uri="{FF2B5EF4-FFF2-40B4-BE49-F238E27FC236}">
                <a16:creationId xmlns:a16="http://schemas.microsoft.com/office/drawing/2014/main" id="{6BF02B54-1915-A962-D2DD-223FE251C420}"/>
              </a:ext>
            </a:extLst>
          </p:cNvPr>
          <p:cNvGrpSpPr/>
          <p:nvPr/>
        </p:nvGrpSpPr>
        <p:grpSpPr>
          <a:xfrm>
            <a:off x="7966272" y="3610161"/>
            <a:ext cx="224648" cy="224648"/>
            <a:chOff x="9787094" y="3428364"/>
            <a:chExt cx="436765" cy="436765"/>
          </a:xfrm>
        </p:grpSpPr>
        <p:sp>
          <p:nvSpPr>
            <p:cNvPr id="1151" name="Oval 51">
              <a:extLst>
                <a:ext uri="{FF2B5EF4-FFF2-40B4-BE49-F238E27FC236}">
                  <a16:creationId xmlns:a16="http://schemas.microsoft.com/office/drawing/2014/main" id="{DC1F1769-6AA9-F705-165B-7E80F11C872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787094" y="3428364"/>
              <a:ext cx="436765" cy="436765"/>
            </a:xfrm>
            <a:prstGeom prst="ellipse">
              <a:avLst/>
            </a:prstGeom>
            <a:solidFill>
              <a:srgbClr val="2C973E"/>
            </a:solidFill>
            <a:ln w="12700">
              <a:noFill/>
              <a:round/>
              <a:headEnd/>
              <a:tailEnd/>
            </a:ln>
          </p:spPr>
          <p:txBody>
            <a:bodyPr wrap="none" lIns="36000" tIns="36000" rIns="36000" bIns="36000" anchor="ctr"/>
            <a:lstStyle/>
            <a:p>
              <a:pPr marL="0" marR="0" lvl="0" indent="0" algn="ctr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lavika" panose="02000000000000000000"/>
              </a:endParaRPr>
            </a:p>
          </p:txBody>
        </p:sp>
        <p:pic>
          <p:nvPicPr>
            <p:cNvPr id="1152" name="Grafik 252" descr="Daumen-hoch-Zeichen">
              <a:extLst>
                <a:ext uri="{FF2B5EF4-FFF2-40B4-BE49-F238E27FC236}">
                  <a16:creationId xmlns:a16="http://schemas.microsoft.com/office/drawing/2014/main" id="{B1B39ACD-9CD5-8D19-DED0-C22957974038}"/>
                </a:ext>
              </a:extLst>
            </p:cNvPr>
            <p:cNvPicPr>
              <a:picLocks noChangeAspect="1"/>
            </p:cNvPicPr>
            <p:nvPr/>
          </p:nvPicPr>
          <p:blipFill>
            <a:blip r:embed="rId42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3"/>
                </a:ext>
              </a:extLst>
            </a:blip>
            <a:stretch>
              <a:fillRect/>
            </a:stretch>
          </p:blipFill>
          <p:spPr>
            <a:xfrm>
              <a:off x="9838151" y="3455704"/>
              <a:ext cx="341444" cy="341444"/>
            </a:xfrm>
            <a:prstGeom prst="rect">
              <a:avLst/>
            </a:prstGeom>
          </p:spPr>
        </p:pic>
      </p:grpSp>
      <p:grpSp>
        <p:nvGrpSpPr>
          <p:cNvPr id="1162" name="Gruppieren 253">
            <a:extLst>
              <a:ext uri="{FF2B5EF4-FFF2-40B4-BE49-F238E27FC236}">
                <a16:creationId xmlns:a16="http://schemas.microsoft.com/office/drawing/2014/main" id="{B0390987-8FCF-3B23-7BF1-F6DA93E3E0A9}"/>
              </a:ext>
            </a:extLst>
          </p:cNvPr>
          <p:cNvGrpSpPr/>
          <p:nvPr/>
        </p:nvGrpSpPr>
        <p:grpSpPr>
          <a:xfrm>
            <a:off x="7966272" y="4795951"/>
            <a:ext cx="224648" cy="224648"/>
            <a:chOff x="9787094" y="3428364"/>
            <a:chExt cx="436765" cy="436765"/>
          </a:xfrm>
        </p:grpSpPr>
        <p:sp>
          <p:nvSpPr>
            <p:cNvPr id="1163" name="Oval 51">
              <a:extLst>
                <a:ext uri="{FF2B5EF4-FFF2-40B4-BE49-F238E27FC236}">
                  <a16:creationId xmlns:a16="http://schemas.microsoft.com/office/drawing/2014/main" id="{A237A8BF-5BC7-EBDC-8E50-F6C3FC13DFE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787094" y="3428364"/>
              <a:ext cx="436765" cy="436765"/>
            </a:xfrm>
            <a:prstGeom prst="ellipse">
              <a:avLst/>
            </a:prstGeom>
            <a:solidFill>
              <a:srgbClr val="2C973E"/>
            </a:solidFill>
            <a:ln w="12700">
              <a:noFill/>
              <a:round/>
              <a:headEnd/>
              <a:tailEnd/>
            </a:ln>
          </p:spPr>
          <p:txBody>
            <a:bodyPr wrap="none" lIns="36000" tIns="36000" rIns="36000" bIns="36000" anchor="ctr"/>
            <a:lstStyle/>
            <a:p>
              <a:pPr marL="0" marR="0" lvl="0" indent="0" algn="ctr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lavika" panose="02000000000000000000"/>
              </a:endParaRPr>
            </a:p>
          </p:txBody>
        </p:sp>
        <p:pic>
          <p:nvPicPr>
            <p:cNvPr id="1164" name="Grafik 252" descr="Daumen-hoch-Zeichen">
              <a:extLst>
                <a:ext uri="{FF2B5EF4-FFF2-40B4-BE49-F238E27FC236}">
                  <a16:creationId xmlns:a16="http://schemas.microsoft.com/office/drawing/2014/main" id="{BC6A3675-FD7F-2C0F-F89D-68941CC35C78}"/>
                </a:ext>
              </a:extLst>
            </p:cNvPr>
            <p:cNvPicPr>
              <a:picLocks noChangeAspect="1"/>
            </p:cNvPicPr>
            <p:nvPr/>
          </p:nvPicPr>
          <p:blipFill>
            <a:blip r:embed="rId42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3"/>
                </a:ext>
              </a:extLst>
            </a:blip>
            <a:stretch>
              <a:fillRect/>
            </a:stretch>
          </p:blipFill>
          <p:spPr>
            <a:xfrm>
              <a:off x="9838151" y="3455704"/>
              <a:ext cx="341444" cy="341444"/>
            </a:xfrm>
            <a:prstGeom prst="rect">
              <a:avLst/>
            </a:prstGeom>
          </p:spPr>
        </p:pic>
      </p:grpSp>
      <p:grpSp>
        <p:nvGrpSpPr>
          <p:cNvPr id="1168" name="Gruppieren 253">
            <a:extLst>
              <a:ext uri="{FF2B5EF4-FFF2-40B4-BE49-F238E27FC236}">
                <a16:creationId xmlns:a16="http://schemas.microsoft.com/office/drawing/2014/main" id="{BB5468F9-BEA3-833E-CB2B-C79A2F9C7045}"/>
              </a:ext>
            </a:extLst>
          </p:cNvPr>
          <p:cNvGrpSpPr/>
          <p:nvPr/>
        </p:nvGrpSpPr>
        <p:grpSpPr>
          <a:xfrm>
            <a:off x="7966272" y="4558793"/>
            <a:ext cx="224648" cy="224648"/>
            <a:chOff x="9787094" y="3428364"/>
            <a:chExt cx="436765" cy="436765"/>
          </a:xfrm>
        </p:grpSpPr>
        <p:sp>
          <p:nvSpPr>
            <p:cNvPr id="1169" name="Oval 51">
              <a:extLst>
                <a:ext uri="{FF2B5EF4-FFF2-40B4-BE49-F238E27FC236}">
                  <a16:creationId xmlns:a16="http://schemas.microsoft.com/office/drawing/2014/main" id="{9210A734-1E5C-0EDA-5F59-49254464E05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787094" y="3428364"/>
              <a:ext cx="436765" cy="436765"/>
            </a:xfrm>
            <a:prstGeom prst="ellipse">
              <a:avLst/>
            </a:prstGeom>
            <a:solidFill>
              <a:srgbClr val="2C973E"/>
            </a:solidFill>
            <a:ln w="12700">
              <a:noFill/>
              <a:round/>
              <a:headEnd/>
              <a:tailEnd/>
            </a:ln>
          </p:spPr>
          <p:txBody>
            <a:bodyPr wrap="none" lIns="36000" tIns="36000" rIns="36000" bIns="36000" anchor="ctr"/>
            <a:lstStyle/>
            <a:p>
              <a:pPr marL="0" marR="0" lvl="0" indent="0" algn="ctr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lavika" panose="02000000000000000000"/>
              </a:endParaRPr>
            </a:p>
          </p:txBody>
        </p:sp>
        <p:pic>
          <p:nvPicPr>
            <p:cNvPr id="1170" name="Grafik 252" descr="Daumen-hoch-Zeichen">
              <a:extLst>
                <a:ext uri="{FF2B5EF4-FFF2-40B4-BE49-F238E27FC236}">
                  <a16:creationId xmlns:a16="http://schemas.microsoft.com/office/drawing/2014/main" id="{87E7A70B-7EFA-119D-947D-44CEE97FE9FE}"/>
                </a:ext>
              </a:extLst>
            </p:cNvPr>
            <p:cNvPicPr>
              <a:picLocks noChangeAspect="1"/>
            </p:cNvPicPr>
            <p:nvPr/>
          </p:nvPicPr>
          <p:blipFill>
            <a:blip r:embed="rId42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3"/>
                </a:ext>
              </a:extLst>
            </a:blip>
            <a:stretch>
              <a:fillRect/>
            </a:stretch>
          </p:blipFill>
          <p:spPr>
            <a:xfrm>
              <a:off x="9838151" y="3455704"/>
              <a:ext cx="341444" cy="341444"/>
            </a:xfrm>
            <a:prstGeom prst="rect">
              <a:avLst/>
            </a:prstGeom>
          </p:spPr>
        </p:pic>
      </p:grpSp>
      <p:grpSp>
        <p:nvGrpSpPr>
          <p:cNvPr id="1171" name="Gruppieren 253">
            <a:extLst>
              <a:ext uri="{FF2B5EF4-FFF2-40B4-BE49-F238E27FC236}">
                <a16:creationId xmlns:a16="http://schemas.microsoft.com/office/drawing/2014/main" id="{AE2F3E37-DFAE-02B4-EB4A-A1CC988B08AF}"/>
              </a:ext>
            </a:extLst>
          </p:cNvPr>
          <p:cNvGrpSpPr/>
          <p:nvPr/>
        </p:nvGrpSpPr>
        <p:grpSpPr>
          <a:xfrm>
            <a:off x="7966272" y="4084477"/>
            <a:ext cx="224648" cy="224648"/>
            <a:chOff x="9787094" y="3428364"/>
            <a:chExt cx="436765" cy="436765"/>
          </a:xfrm>
        </p:grpSpPr>
        <p:sp>
          <p:nvSpPr>
            <p:cNvPr id="1172" name="Oval 51">
              <a:extLst>
                <a:ext uri="{FF2B5EF4-FFF2-40B4-BE49-F238E27FC236}">
                  <a16:creationId xmlns:a16="http://schemas.microsoft.com/office/drawing/2014/main" id="{5174A4CD-7BF7-5976-055E-078E444BDCF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787094" y="3428364"/>
              <a:ext cx="436765" cy="436765"/>
            </a:xfrm>
            <a:prstGeom prst="ellipse">
              <a:avLst/>
            </a:prstGeom>
            <a:solidFill>
              <a:srgbClr val="2C973E"/>
            </a:solidFill>
            <a:ln w="12700">
              <a:noFill/>
              <a:round/>
              <a:headEnd/>
              <a:tailEnd/>
            </a:ln>
          </p:spPr>
          <p:txBody>
            <a:bodyPr wrap="none" lIns="36000" tIns="36000" rIns="36000" bIns="36000" anchor="ctr"/>
            <a:lstStyle/>
            <a:p>
              <a:pPr marL="0" marR="0" lvl="0" indent="0" algn="ctr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lavika" panose="02000000000000000000"/>
              </a:endParaRPr>
            </a:p>
          </p:txBody>
        </p:sp>
        <p:pic>
          <p:nvPicPr>
            <p:cNvPr id="1173" name="Grafik 252" descr="Daumen-hoch-Zeichen">
              <a:extLst>
                <a:ext uri="{FF2B5EF4-FFF2-40B4-BE49-F238E27FC236}">
                  <a16:creationId xmlns:a16="http://schemas.microsoft.com/office/drawing/2014/main" id="{76C69588-8432-6238-F244-DE9B4BBA7A64}"/>
                </a:ext>
              </a:extLst>
            </p:cNvPr>
            <p:cNvPicPr>
              <a:picLocks noChangeAspect="1"/>
            </p:cNvPicPr>
            <p:nvPr/>
          </p:nvPicPr>
          <p:blipFill>
            <a:blip r:embed="rId42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3"/>
                </a:ext>
              </a:extLst>
            </a:blip>
            <a:stretch>
              <a:fillRect/>
            </a:stretch>
          </p:blipFill>
          <p:spPr>
            <a:xfrm>
              <a:off x="9838151" y="3455704"/>
              <a:ext cx="341444" cy="341444"/>
            </a:xfrm>
            <a:prstGeom prst="rect">
              <a:avLst/>
            </a:prstGeom>
          </p:spPr>
        </p:pic>
      </p:grpSp>
      <p:grpSp>
        <p:nvGrpSpPr>
          <p:cNvPr id="1174" name="Gruppieren 253">
            <a:extLst>
              <a:ext uri="{FF2B5EF4-FFF2-40B4-BE49-F238E27FC236}">
                <a16:creationId xmlns:a16="http://schemas.microsoft.com/office/drawing/2014/main" id="{3CC4A126-EA61-E97A-FF3E-E162C0CFF4EC}"/>
              </a:ext>
            </a:extLst>
          </p:cNvPr>
          <p:cNvGrpSpPr/>
          <p:nvPr/>
        </p:nvGrpSpPr>
        <p:grpSpPr>
          <a:xfrm>
            <a:off x="7966272" y="5744583"/>
            <a:ext cx="224648" cy="224648"/>
            <a:chOff x="9787094" y="3428364"/>
            <a:chExt cx="436765" cy="436765"/>
          </a:xfrm>
        </p:grpSpPr>
        <p:sp>
          <p:nvSpPr>
            <p:cNvPr id="1175" name="Oval 51">
              <a:extLst>
                <a:ext uri="{FF2B5EF4-FFF2-40B4-BE49-F238E27FC236}">
                  <a16:creationId xmlns:a16="http://schemas.microsoft.com/office/drawing/2014/main" id="{857A2E99-9F99-003C-DA95-961AD8B54FD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787094" y="3428364"/>
              <a:ext cx="436765" cy="436765"/>
            </a:xfrm>
            <a:prstGeom prst="ellipse">
              <a:avLst/>
            </a:prstGeom>
            <a:solidFill>
              <a:srgbClr val="2C973E"/>
            </a:solidFill>
            <a:ln w="12700">
              <a:noFill/>
              <a:round/>
              <a:headEnd/>
              <a:tailEnd/>
            </a:ln>
          </p:spPr>
          <p:txBody>
            <a:bodyPr wrap="none" lIns="36000" tIns="36000" rIns="36000" bIns="36000" anchor="ctr"/>
            <a:lstStyle/>
            <a:p>
              <a:pPr marL="0" marR="0" lvl="0" indent="0" algn="ctr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lavika" panose="02000000000000000000"/>
              </a:endParaRPr>
            </a:p>
          </p:txBody>
        </p:sp>
        <p:pic>
          <p:nvPicPr>
            <p:cNvPr id="1176" name="Grafik 252" descr="Daumen-hoch-Zeichen">
              <a:extLst>
                <a:ext uri="{FF2B5EF4-FFF2-40B4-BE49-F238E27FC236}">
                  <a16:creationId xmlns:a16="http://schemas.microsoft.com/office/drawing/2014/main" id="{0918EAC8-1DC5-0ECE-ADEE-B9FCEFC78358}"/>
                </a:ext>
              </a:extLst>
            </p:cNvPr>
            <p:cNvPicPr>
              <a:picLocks noChangeAspect="1"/>
            </p:cNvPicPr>
            <p:nvPr/>
          </p:nvPicPr>
          <p:blipFill>
            <a:blip r:embed="rId42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3"/>
                </a:ext>
              </a:extLst>
            </a:blip>
            <a:stretch>
              <a:fillRect/>
            </a:stretch>
          </p:blipFill>
          <p:spPr>
            <a:xfrm>
              <a:off x="9838151" y="3455704"/>
              <a:ext cx="341444" cy="341444"/>
            </a:xfrm>
            <a:prstGeom prst="rect">
              <a:avLst/>
            </a:prstGeom>
          </p:spPr>
        </p:pic>
      </p:grpSp>
      <p:grpSp>
        <p:nvGrpSpPr>
          <p:cNvPr id="1177" name="Gruppieren 253">
            <a:extLst>
              <a:ext uri="{FF2B5EF4-FFF2-40B4-BE49-F238E27FC236}">
                <a16:creationId xmlns:a16="http://schemas.microsoft.com/office/drawing/2014/main" id="{93EBD57B-E211-CBE3-5FCF-9E42D0B6449B}"/>
              </a:ext>
            </a:extLst>
          </p:cNvPr>
          <p:cNvGrpSpPr/>
          <p:nvPr/>
        </p:nvGrpSpPr>
        <p:grpSpPr>
          <a:xfrm>
            <a:off x="7966272" y="5507425"/>
            <a:ext cx="224648" cy="224648"/>
            <a:chOff x="9787094" y="3428364"/>
            <a:chExt cx="436765" cy="436765"/>
          </a:xfrm>
        </p:grpSpPr>
        <p:sp>
          <p:nvSpPr>
            <p:cNvPr id="1178" name="Oval 51">
              <a:extLst>
                <a:ext uri="{FF2B5EF4-FFF2-40B4-BE49-F238E27FC236}">
                  <a16:creationId xmlns:a16="http://schemas.microsoft.com/office/drawing/2014/main" id="{D83776BB-9542-913E-5A15-FFE4ABE4BC5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787094" y="3428364"/>
              <a:ext cx="436765" cy="436765"/>
            </a:xfrm>
            <a:prstGeom prst="ellipse">
              <a:avLst/>
            </a:prstGeom>
            <a:solidFill>
              <a:srgbClr val="2C973E"/>
            </a:solidFill>
            <a:ln w="12700">
              <a:noFill/>
              <a:round/>
              <a:headEnd/>
              <a:tailEnd/>
            </a:ln>
          </p:spPr>
          <p:txBody>
            <a:bodyPr wrap="none" lIns="36000" tIns="36000" rIns="36000" bIns="36000" anchor="ctr"/>
            <a:lstStyle/>
            <a:p>
              <a:pPr marL="0" marR="0" lvl="0" indent="0" algn="ctr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lavika" panose="02000000000000000000"/>
              </a:endParaRPr>
            </a:p>
          </p:txBody>
        </p:sp>
        <p:pic>
          <p:nvPicPr>
            <p:cNvPr id="1179" name="Grafik 252" descr="Daumen-hoch-Zeichen">
              <a:extLst>
                <a:ext uri="{FF2B5EF4-FFF2-40B4-BE49-F238E27FC236}">
                  <a16:creationId xmlns:a16="http://schemas.microsoft.com/office/drawing/2014/main" id="{709EE876-6A6F-8006-A06A-E4E256840628}"/>
                </a:ext>
              </a:extLst>
            </p:cNvPr>
            <p:cNvPicPr>
              <a:picLocks noChangeAspect="1"/>
            </p:cNvPicPr>
            <p:nvPr/>
          </p:nvPicPr>
          <p:blipFill>
            <a:blip r:embed="rId42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3"/>
                </a:ext>
              </a:extLst>
            </a:blip>
            <a:stretch>
              <a:fillRect/>
            </a:stretch>
          </p:blipFill>
          <p:spPr>
            <a:xfrm>
              <a:off x="9838151" y="3455704"/>
              <a:ext cx="341444" cy="341444"/>
            </a:xfrm>
            <a:prstGeom prst="rect">
              <a:avLst/>
            </a:prstGeom>
          </p:spPr>
        </p:pic>
      </p:grpSp>
      <p:grpSp>
        <p:nvGrpSpPr>
          <p:cNvPr id="1180" name="Gruppieren 253">
            <a:extLst>
              <a:ext uri="{FF2B5EF4-FFF2-40B4-BE49-F238E27FC236}">
                <a16:creationId xmlns:a16="http://schemas.microsoft.com/office/drawing/2014/main" id="{110B6502-540F-ACC1-60B5-EEF2058202E4}"/>
              </a:ext>
            </a:extLst>
          </p:cNvPr>
          <p:cNvGrpSpPr/>
          <p:nvPr/>
        </p:nvGrpSpPr>
        <p:grpSpPr>
          <a:xfrm>
            <a:off x="7966272" y="5270267"/>
            <a:ext cx="224648" cy="224648"/>
            <a:chOff x="9787094" y="3428364"/>
            <a:chExt cx="436765" cy="436765"/>
          </a:xfrm>
        </p:grpSpPr>
        <p:sp>
          <p:nvSpPr>
            <p:cNvPr id="1181" name="Oval 51">
              <a:extLst>
                <a:ext uri="{FF2B5EF4-FFF2-40B4-BE49-F238E27FC236}">
                  <a16:creationId xmlns:a16="http://schemas.microsoft.com/office/drawing/2014/main" id="{424BEFF8-B812-4AC5-7975-6E5CFADE5BE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787094" y="3428364"/>
              <a:ext cx="436765" cy="436765"/>
            </a:xfrm>
            <a:prstGeom prst="ellipse">
              <a:avLst/>
            </a:prstGeom>
            <a:solidFill>
              <a:srgbClr val="2C973E"/>
            </a:solidFill>
            <a:ln w="12700">
              <a:noFill/>
              <a:round/>
              <a:headEnd/>
              <a:tailEnd/>
            </a:ln>
          </p:spPr>
          <p:txBody>
            <a:bodyPr wrap="none" lIns="36000" tIns="36000" rIns="36000" bIns="36000" anchor="ctr"/>
            <a:lstStyle/>
            <a:p>
              <a:pPr marL="0" marR="0" lvl="0" indent="0" algn="ctr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lavika" panose="02000000000000000000"/>
              </a:endParaRPr>
            </a:p>
          </p:txBody>
        </p:sp>
        <p:pic>
          <p:nvPicPr>
            <p:cNvPr id="1182" name="Grafik 252" descr="Daumen-hoch-Zeichen">
              <a:extLst>
                <a:ext uri="{FF2B5EF4-FFF2-40B4-BE49-F238E27FC236}">
                  <a16:creationId xmlns:a16="http://schemas.microsoft.com/office/drawing/2014/main" id="{A23B7B3B-9B46-35CD-E314-D5B01BA0C4B2}"/>
                </a:ext>
              </a:extLst>
            </p:cNvPr>
            <p:cNvPicPr>
              <a:picLocks noChangeAspect="1"/>
            </p:cNvPicPr>
            <p:nvPr/>
          </p:nvPicPr>
          <p:blipFill>
            <a:blip r:embed="rId42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3"/>
                </a:ext>
              </a:extLst>
            </a:blip>
            <a:stretch>
              <a:fillRect/>
            </a:stretch>
          </p:blipFill>
          <p:spPr>
            <a:xfrm>
              <a:off x="9838151" y="3455704"/>
              <a:ext cx="341444" cy="341444"/>
            </a:xfrm>
            <a:prstGeom prst="rect">
              <a:avLst/>
            </a:prstGeom>
          </p:spPr>
        </p:pic>
      </p:grpSp>
      <p:sp>
        <p:nvSpPr>
          <p:cNvPr id="1188" name="TextBox 1187">
            <a:extLst>
              <a:ext uri="{FF2B5EF4-FFF2-40B4-BE49-F238E27FC236}">
                <a16:creationId xmlns:a16="http://schemas.microsoft.com/office/drawing/2014/main" id="{BC4A82D4-4236-7598-A609-A669872E728F}"/>
              </a:ext>
            </a:extLst>
          </p:cNvPr>
          <p:cNvSpPr txBox="1"/>
          <p:nvPr/>
        </p:nvSpPr>
        <p:spPr>
          <a:xfrm>
            <a:off x="9289473" y="1279921"/>
            <a:ext cx="2213263" cy="410129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en-US" sz="1600" b="1">
                <a:solidFill>
                  <a:schemeClr val="tx2"/>
                </a:solidFill>
              </a:rPr>
              <a:t>Key Take-Aways</a:t>
            </a:r>
          </a:p>
        </p:txBody>
      </p:sp>
      <p:cxnSp>
        <p:nvCxnSpPr>
          <p:cNvPr id="1190" name="Straight Connector 1189">
            <a:extLst>
              <a:ext uri="{FF2B5EF4-FFF2-40B4-BE49-F238E27FC236}">
                <a16:creationId xmlns:a16="http://schemas.microsoft.com/office/drawing/2014/main" id="{0ADB8FE9-874A-86DB-91D5-0EEACBD074E6}"/>
              </a:ext>
            </a:extLst>
          </p:cNvPr>
          <p:cNvCxnSpPr/>
          <p:nvPr/>
        </p:nvCxnSpPr>
        <p:spPr>
          <a:xfrm>
            <a:off x="9240709" y="1702154"/>
            <a:ext cx="2286000" cy="0"/>
          </a:xfrm>
          <a:prstGeom prst="line">
            <a:avLst/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92" name="TextBox 1191">
            <a:extLst>
              <a:ext uri="{FF2B5EF4-FFF2-40B4-BE49-F238E27FC236}">
                <a16:creationId xmlns:a16="http://schemas.microsoft.com/office/drawing/2014/main" id="{13E720E7-5D10-E093-2742-D2FAC87C686E}"/>
              </a:ext>
            </a:extLst>
          </p:cNvPr>
          <p:cNvSpPr txBox="1"/>
          <p:nvPr/>
        </p:nvSpPr>
        <p:spPr>
          <a:xfrm>
            <a:off x="9240709" y="1822307"/>
            <a:ext cx="2285998" cy="4146921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203200" lvl="1" indent="-203200">
              <a:buClr>
                <a:schemeClr val="tx2"/>
              </a:buClr>
              <a:buSzPct val="100000"/>
              <a:buFont typeface="Wingdings" pitchFamily="2" charset="2"/>
              <a:buChar char="§"/>
            </a:pPr>
            <a:r>
              <a:rPr lang="en-US" sz="1600"/>
              <a:t>All the </a:t>
            </a:r>
            <a:r>
              <a:rPr lang="en-US" sz="1600" b="1"/>
              <a:t>data was easily accessible </a:t>
            </a:r>
            <a:r>
              <a:rPr lang="en-US" sz="1600"/>
              <a:t>and available to the public without any restrictions</a:t>
            </a:r>
          </a:p>
          <a:p>
            <a:pPr marL="203200" lvl="1" indent="-203200">
              <a:buClr>
                <a:schemeClr val="tx2"/>
              </a:buClr>
              <a:buSzPct val="100000"/>
              <a:buFont typeface="Wingdings" pitchFamily="2" charset="2"/>
              <a:buChar char="§"/>
            </a:pPr>
            <a:endParaRPr lang="en-US" sz="1600"/>
          </a:p>
          <a:p>
            <a:pPr marL="203200" lvl="1" indent="-203200">
              <a:buClr>
                <a:schemeClr val="tx2"/>
              </a:buClr>
              <a:buSzPct val="100000"/>
              <a:buFont typeface="Wingdings" pitchFamily="2" charset="2"/>
              <a:buChar char="§"/>
            </a:pPr>
            <a:r>
              <a:rPr lang="en-US" sz="1600"/>
              <a:t>Of a few features, we </a:t>
            </a:r>
            <a:r>
              <a:rPr lang="en-US" sz="1600" b="1"/>
              <a:t>incorporated lag features</a:t>
            </a:r>
            <a:r>
              <a:rPr lang="en-US" sz="1600"/>
              <a:t> to account for historic changes and patterns</a:t>
            </a:r>
          </a:p>
          <a:p>
            <a:pPr marL="203200" lvl="1" indent="-203200">
              <a:buClr>
                <a:schemeClr val="tx2"/>
              </a:buClr>
              <a:buSzPct val="100000"/>
              <a:buFont typeface="Wingdings" pitchFamily="2" charset="2"/>
              <a:buChar char="§"/>
            </a:pPr>
            <a:endParaRPr lang="en-US" sz="1600"/>
          </a:p>
          <a:p>
            <a:pPr marL="203200" lvl="1" indent="-203200">
              <a:buClr>
                <a:schemeClr val="tx2"/>
              </a:buClr>
              <a:buSzPct val="100000"/>
              <a:buFont typeface="Wingdings" pitchFamily="2" charset="2"/>
              <a:buChar char="§"/>
            </a:pPr>
            <a:r>
              <a:rPr lang="en-US" sz="1600"/>
              <a:t>Several </a:t>
            </a:r>
            <a:r>
              <a:rPr lang="en-US" sz="1600" b="1"/>
              <a:t>external features </a:t>
            </a:r>
            <a:r>
              <a:rPr lang="en-US" sz="1600"/>
              <a:t>were highly important to our model performance (</a:t>
            </a:r>
            <a:r>
              <a:rPr lang="en-US" sz="1600" b="1"/>
              <a:t>GSCPI and USIR</a:t>
            </a:r>
            <a:r>
              <a:rPr lang="en-US" sz="1600"/>
              <a:t>)</a:t>
            </a:r>
            <a:endParaRPr lang="en-US" sz="1600">
              <a:highlight>
                <a:srgbClr val="FFFF00"/>
              </a:highlight>
            </a:endParaRPr>
          </a:p>
        </p:txBody>
      </p:sp>
      <p:grpSp>
        <p:nvGrpSpPr>
          <p:cNvPr id="6" name="flowarrow16x9">
            <a:extLst>
              <a:ext uri="{FF2B5EF4-FFF2-40B4-BE49-F238E27FC236}">
                <a16:creationId xmlns:a16="http://schemas.microsoft.com/office/drawing/2014/main" id="{FA122F22-6916-86A7-2EBC-3D135D56DA3D}"/>
              </a:ext>
            </a:extLst>
          </p:cNvPr>
          <p:cNvGrpSpPr/>
          <p:nvPr/>
        </p:nvGrpSpPr>
        <p:grpSpPr bwMode="gray">
          <a:xfrm>
            <a:off x="8805445" y="1432331"/>
            <a:ext cx="306910" cy="4451985"/>
            <a:chOff x="5942545" y="1857375"/>
            <a:chExt cx="306910" cy="4451985"/>
          </a:xfrm>
        </p:grpSpPr>
        <p:cxnSp>
          <p:nvCxnSpPr>
            <p:cNvPr id="7" name="Straight Connector 6">
              <a:extLst>
                <a:ext uri="{FF2B5EF4-FFF2-40B4-BE49-F238E27FC236}">
                  <a16:creationId xmlns:a16="http://schemas.microsoft.com/office/drawing/2014/main" id="{FA029949-D633-5AFC-1D48-30D84BEBD3CC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6096000" y="1857375"/>
              <a:ext cx="0" cy="4451985"/>
            </a:xfrm>
            <a:prstGeom prst="line">
              <a:avLst/>
            </a:prstGeom>
            <a:noFill/>
            <a:ln w="9525" cap="rnd" cmpd="sng" algn="ctr">
              <a:solidFill>
                <a:srgbClr val="75737D"/>
              </a:solidFill>
              <a:prstDash val="solid"/>
              <a:round/>
            </a:ln>
            <a:effectLst/>
          </p:spPr>
        </p:cxnSp>
        <p:grpSp>
          <p:nvGrpSpPr>
            <p:cNvPr id="1189" name="Group 1188">
              <a:extLst>
                <a:ext uri="{FF2B5EF4-FFF2-40B4-BE49-F238E27FC236}">
                  <a16:creationId xmlns:a16="http://schemas.microsoft.com/office/drawing/2014/main" id="{04DC888E-060A-7E1D-6B0C-89E1F250FB72}"/>
                </a:ext>
              </a:extLst>
            </p:cNvPr>
            <p:cNvGrpSpPr/>
            <p:nvPr/>
          </p:nvGrpSpPr>
          <p:grpSpPr bwMode="gray">
            <a:xfrm>
              <a:off x="5942545" y="3929912"/>
              <a:ext cx="306910" cy="306910"/>
              <a:chOff x="6313199" y="4229315"/>
              <a:chExt cx="306910" cy="306910"/>
            </a:xfrm>
          </p:grpSpPr>
          <p:sp>
            <p:nvSpPr>
              <p:cNvPr id="1193" name="Oval 50">
                <a:extLst>
                  <a:ext uri="{FF2B5EF4-FFF2-40B4-BE49-F238E27FC236}">
                    <a16:creationId xmlns:a16="http://schemas.microsoft.com/office/drawing/2014/main" id="{FDD32FCF-8C3A-26F8-2192-EE96E4C37EDF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6313199" y="4229315"/>
                <a:ext cx="306910" cy="306910"/>
              </a:xfrm>
              <a:prstGeom prst="ellipse">
                <a:avLst/>
              </a:prstGeom>
              <a:solidFill>
                <a:schemeClr val="tx2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2000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grpSp>
            <p:nvGrpSpPr>
              <p:cNvPr id="1194" name="Group 1193">
                <a:extLst>
                  <a:ext uri="{FF2B5EF4-FFF2-40B4-BE49-F238E27FC236}">
                    <a16:creationId xmlns:a16="http://schemas.microsoft.com/office/drawing/2014/main" id="{10417407-B613-7660-ADEE-D15AEAF9B02F}"/>
                  </a:ext>
                </a:extLst>
              </p:cNvPr>
              <p:cNvGrpSpPr/>
              <p:nvPr/>
            </p:nvGrpSpPr>
            <p:grpSpPr bwMode="gray">
              <a:xfrm>
                <a:off x="6399804" y="4314508"/>
                <a:ext cx="140052" cy="136525"/>
                <a:chOff x="6405478" y="4314507"/>
                <a:chExt cx="140052" cy="136525"/>
              </a:xfrm>
            </p:grpSpPr>
            <p:sp>
              <p:nvSpPr>
                <p:cNvPr id="1195" name="Arrow: Chevron 373">
                  <a:extLst>
                    <a:ext uri="{FF2B5EF4-FFF2-40B4-BE49-F238E27FC236}">
                      <a16:creationId xmlns:a16="http://schemas.microsoft.com/office/drawing/2014/main" id="{7A7CFBE9-B7D4-6CD1-1C5B-0850429A4392}"/>
                    </a:ext>
                  </a:extLst>
                </p:cNvPr>
                <p:cNvSpPr/>
                <p:nvPr/>
              </p:nvSpPr>
              <p:spPr bwMode="gray">
                <a:xfrm>
                  <a:off x="6405478" y="4314507"/>
                  <a:ext cx="74784" cy="136525"/>
                </a:xfrm>
                <a:prstGeom prst="chevron">
                  <a:avLst>
                    <a:gd name="adj" fmla="val 71053"/>
                  </a:avLst>
                </a:prstGeom>
                <a:solidFill>
                  <a:srgbClr val="FFFFFF"/>
                </a:solidFill>
                <a:ln w="9525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defTabSz="914400" eaLnBrk="1" fontAlgn="base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60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196" name="Arrow: Chevron 374">
                  <a:extLst>
                    <a:ext uri="{FF2B5EF4-FFF2-40B4-BE49-F238E27FC236}">
                      <a16:creationId xmlns:a16="http://schemas.microsoft.com/office/drawing/2014/main" id="{43D9DC65-336C-32E3-60F2-0720CB7F53CD}"/>
                    </a:ext>
                  </a:extLst>
                </p:cNvPr>
                <p:cNvSpPr/>
                <p:nvPr/>
              </p:nvSpPr>
              <p:spPr bwMode="gray">
                <a:xfrm>
                  <a:off x="6470746" y="4314507"/>
                  <a:ext cx="74784" cy="136525"/>
                </a:xfrm>
                <a:prstGeom prst="chevron">
                  <a:avLst>
                    <a:gd name="adj" fmla="val 71053"/>
                  </a:avLst>
                </a:prstGeom>
                <a:solidFill>
                  <a:srgbClr val="FFFFFF"/>
                </a:solidFill>
                <a:ln w="9525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defTabSz="914400" eaLnBrk="1" fontAlgn="base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60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</p:grpSp>
        </p:grpSp>
      </p:grpSp>
      <p:grpSp>
        <p:nvGrpSpPr>
          <p:cNvPr id="9" name="Gruppieren 257">
            <a:extLst>
              <a:ext uri="{FF2B5EF4-FFF2-40B4-BE49-F238E27FC236}">
                <a16:creationId xmlns:a16="http://schemas.microsoft.com/office/drawing/2014/main" id="{EFDA6CA4-4A39-5C69-6267-E0EA5787AA50}"/>
              </a:ext>
            </a:extLst>
          </p:cNvPr>
          <p:cNvGrpSpPr/>
          <p:nvPr/>
        </p:nvGrpSpPr>
        <p:grpSpPr>
          <a:xfrm>
            <a:off x="7966272" y="3135845"/>
            <a:ext cx="224648" cy="224648"/>
            <a:chOff x="10357465" y="3428364"/>
            <a:chExt cx="436765" cy="436765"/>
          </a:xfrm>
        </p:grpSpPr>
        <p:sp>
          <p:nvSpPr>
            <p:cNvPr id="11" name="Oval 51">
              <a:extLst>
                <a:ext uri="{FF2B5EF4-FFF2-40B4-BE49-F238E27FC236}">
                  <a16:creationId xmlns:a16="http://schemas.microsoft.com/office/drawing/2014/main" id="{D99C9E9B-DC9A-DC0B-A48A-B2539E8B7AF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357465" y="3428364"/>
              <a:ext cx="436765" cy="436765"/>
            </a:xfrm>
            <a:prstGeom prst="ellipse">
              <a:avLst/>
            </a:prstGeom>
            <a:solidFill>
              <a:srgbClr val="F04C3E"/>
            </a:solidFill>
            <a:ln w="12700">
              <a:noFill/>
              <a:round/>
              <a:headEnd/>
              <a:tailEnd/>
            </a:ln>
          </p:spPr>
          <p:txBody>
            <a:bodyPr wrap="none" lIns="36000" tIns="36000" rIns="36000" bIns="36000" anchor="ctr"/>
            <a:lstStyle/>
            <a:p>
              <a:pPr marL="0" marR="0" lvl="0" indent="0" algn="ctr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lavika" panose="02000000000000000000"/>
              </a:endParaRPr>
            </a:p>
          </p:txBody>
        </p:sp>
        <p:pic>
          <p:nvPicPr>
            <p:cNvPr id="12" name="Grafik 256" descr="Daumen-hoch-Zeichen">
              <a:extLst>
                <a:ext uri="{FF2B5EF4-FFF2-40B4-BE49-F238E27FC236}">
                  <a16:creationId xmlns:a16="http://schemas.microsoft.com/office/drawing/2014/main" id="{A1D7D712-1CEF-FA86-9D95-F4941D390192}"/>
                </a:ext>
              </a:extLst>
            </p:cNvPr>
            <p:cNvPicPr>
              <a:picLocks noChangeAspect="1"/>
            </p:cNvPicPr>
            <p:nvPr/>
          </p:nvPicPr>
          <p:blipFill>
            <a:blip r:embed="rId42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3"/>
                </a:ext>
              </a:extLst>
            </a:blip>
            <a:stretch>
              <a:fillRect/>
            </a:stretch>
          </p:blipFill>
          <p:spPr>
            <a:xfrm rot="10800000">
              <a:off x="10408522" y="3474756"/>
              <a:ext cx="341444" cy="341444"/>
            </a:xfrm>
            <a:prstGeom prst="rect">
              <a:avLst/>
            </a:prstGeom>
          </p:spPr>
        </p:pic>
      </p:grpSp>
      <p:grpSp>
        <p:nvGrpSpPr>
          <p:cNvPr id="13" name="Gruppieren 253">
            <a:extLst>
              <a:ext uri="{FF2B5EF4-FFF2-40B4-BE49-F238E27FC236}">
                <a16:creationId xmlns:a16="http://schemas.microsoft.com/office/drawing/2014/main" id="{EA197FCA-AF4F-7F4D-275E-EA5B9A7CC1DB}"/>
              </a:ext>
            </a:extLst>
          </p:cNvPr>
          <p:cNvGrpSpPr/>
          <p:nvPr/>
        </p:nvGrpSpPr>
        <p:grpSpPr>
          <a:xfrm>
            <a:off x="7966272" y="2424371"/>
            <a:ext cx="224648" cy="224648"/>
            <a:chOff x="9787094" y="3428364"/>
            <a:chExt cx="436765" cy="436765"/>
          </a:xfrm>
        </p:grpSpPr>
        <p:sp>
          <p:nvSpPr>
            <p:cNvPr id="14" name="Oval 51">
              <a:extLst>
                <a:ext uri="{FF2B5EF4-FFF2-40B4-BE49-F238E27FC236}">
                  <a16:creationId xmlns:a16="http://schemas.microsoft.com/office/drawing/2014/main" id="{48AC26D7-B307-B26D-AB04-2A1E9E9212D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787094" y="3428364"/>
              <a:ext cx="436765" cy="436765"/>
            </a:xfrm>
            <a:prstGeom prst="ellipse">
              <a:avLst/>
            </a:prstGeom>
            <a:solidFill>
              <a:srgbClr val="2C973E"/>
            </a:solidFill>
            <a:ln w="12700">
              <a:noFill/>
              <a:round/>
              <a:headEnd/>
              <a:tailEnd/>
            </a:ln>
          </p:spPr>
          <p:txBody>
            <a:bodyPr wrap="none" lIns="36000" tIns="36000" rIns="36000" bIns="36000" anchor="ctr"/>
            <a:lstStyle/>
            <a:p>
              <a:pPr marL="0" marR="0" lvl="0" indent="0" algn="ctr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lavika" panose="02000000000000000000"/>
              </a:endParaRPr>
            </a:p>
          </p:txBody>
        </p:sp>
        <p:pic>
          <p:nvPicPr>
            <p:cNvPr id="15" name="Grafik 252" descr="Daumen-hoch-Zeichen">
              <a:extLst>
                <a:ext uri="{FF2B5EF4-FFF2-40B4-BE49-F238E27FC236}">
                  <a16:creationId xmlns:a16="http://schemas.microsoft.com/office/drawing/2014/main" id="{6CB62DC0-0F75-FF97-B41B-71B92FBD3BC0}"/>
                </a:ext>
              </a:extLst>
            </p:cNvPr>
            <p:cNvPicPr>
              <a:picLocks noChangeAspect="1"/>
            </p:cNvPicPr>
            <p:nvPr/>
          </p:nvPicPr>
          <p:blipFill>
            <a:blip r:embed="rId42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3"/>
                </a:ext>
              </a:extLst>
            </a:blip>
            <a:stretch>
              <a:fillRect/>
            </a:stretch>
          </p:blipFill>
          <p:spPr>
            <a:xfrm>
              <a:off x="9838151" y="3455704"/>
              <a:ext cx="341444" cy="341444"/>
            </a:xfrm>
            <a:prstGeom prst="rect">
              <a:avLst/>
            </a:prstGeom>
          </p:spPr>
        </p:pic>
      </p:grpSp>
      <p:grpSp>
        <p:nvGrpSpPr>
          <p:cNvPr id="16" name="Gruppieren 253">
            <a:extLst>
              <a:ext uri="{FF2B5EF4-FFF2-40B4-BE49-F238E27FC236}">
                <a16:creationId xmlns:a16="http://schemas.microsoft.com/office/drawing/2014/main" id="{7F8A9EB3-D36B-0A55-00EA-29AD9C1ABDF0}"/>
              </a:ext>
            </a:extLst>
          </p:cNvPr>
          <p:cNvGrpSpPr/>
          <p:nvPr/>
        </p:nvGrpSpPr>
        <p:grpSpPr>
          <a:xfrm>
            <a:off x="7966272" y="2187213"/>
            <a:ext cx="224648" cy="224648"/>
            <a:chOff x="9787094" y="3428364"/>
            <a:chExt cx="436765" cy="436765"/>
          </a:xfrm>
        </p:grpSpPr>
        <p:sp>
          <p:nvSpPr>
            <p:cNvPr id="17" name="Oval 51">
              <a:extLst>
                <a:ext uri="{FF2B5EF4-FFF2-40B4-BE49-F238E27FC236}">
                  <a16:creationId xmlns:a16="http://schemas.microsoft.com/office/drawing/2014/main" id="{0664B9F4-ACD3-9BBF-FFC4-13B994E8F56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787094" y="3428364"/>
              <a:ext cx="436765" cy="436765"/>
            </a:xfrm>
            <a:prstGeom prst="ellipse">
              <a:avLst/>
            </a:prstGeom>
            <a:solidFill>
              <a:srgbClr val="2C973E"/>
            </a:solidFill>
            <a:ln w="12700">
              <a:noFill/>
              <a:round/>
              <a:headEnd/>
              <a:tailEnd/>
            </a:ln>
          </p:spPr>
          <p:txBody>
            <a:bodyPr wrap="none" lIns="36000" tIns="36000" rIns="36000" bIns="36000" anchor="ctr"/>
            <a:lstStyle/>
            <a:p>
              <a:pPr marL="0" marR="0" lvl="0" indent="0" algn="ctr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lavika" panose="02000000000000000000"/>
              </a:endParaRPr>
            </a:p>
          </p:txBody>
        </p:sp>
        <p:pic>
          <p:nvPicPr>
            <p:cNvPr id="18" name="Grafik 252" descr="Daumen-hoch-Zeichen">
              <a:extLst>
                <a:ext uri="{FF2B5EF4-FFF2-40B4-BE49-F238E27FC236}">
                  <a16:creationId xmlns:a16="http://schemas.microsoft.com/office/drawing/2014/main" id="{4832512E-39F4-C9B9-3628-1E9B87DC114C}"/>
                </a:ext>
              </a:extLst>
            </p:cNvPr>
            <p:cNvPicPr>
              <a:picLocks noChangeAspect="1"/>
            </p:cNvPicPr>
            <p:nvPr/>
          </p:nvPicPr>
          <p:blipFill>
            <a:blip r:embed="rId42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3"/>
                </a:ext>
              </a:extLst>
            </a:blip>
            <a:stretch>
              <a:fillRect/>
            </a:stretch>
          </p:blipFill>
          <p:spPr>
            <a:xfrm>
              <a:off x="9838151" y="3455704"/>
              <a:ext cx="341444" cy="341444"/>
            </a:xfrm>
            <a:prstGeom prst="rect">
              <a:avLst/>
            </a:prstGeom>
          </p:spPr>
        </p:pic>
      </p:grpSp>
      <p:grpSp>
        <p:nvGrpSpPr>
          <p:cNvPr id="19" name="Gruppieren 253">
            <a:extLst>
              <a:ext uri="{FF2B5EF4-FFF2-40B4-BE49-F238E27FC236}">
                <a16:creationId xmlns:a16="http://schemas.microsoft.com/office/drawing/2014/main" id="{8F2F06F1-045C-280F-657C-216C5C3E8261}"/>
              </a:ext>
            </a:extLst>
          </p:cNvPr>
          <p:cNvGrpSpPr/>
          <p:nvPr/>
        </p:nvGrpSpPr>
        <p:grpSpPr>
          <a:xfrm>
            <a:off x="7966272" y="3847319"/>
            <a:ext cx="224648" cy="224648"/>
            <a:chOff x="9787094" y="3428364"/>
            <a:chExt cx="436765" cy="436765"/>
          </a:xfrm>
        </p:grpSpPr>
        <p:sp>
          <p:nvSpPr>
            <p:cNvPr id="20" name="Oval 51">
              <a:extLst>
                <a:ext uri="{FF2B5EF4-FFF2-40B4-BE49-F238E27FC236}">
                  <a16:creationId xmlns:a16="http://schemas.microsoft.com/office/drawing/2014/main" id="{D4D8299F-078E-4EC5-72DF-1F0B4D029FF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787094" y="3428364"/>
              <a:ext cx="436765" cy="436765"/>
            </a:xfrm>
            <a:prstGeom prst="ellipse">
              <a:avLst/>
            </a:prstGeom>
            <a:solidFill>
              <a:srgbClr val="2C973E"/>
            </a:solidFill>
            <a:ln w="12700">
              <a:noFill/>
              <a:round/>
              <a:headEnd/>
              <a:tailEnd/>
            </a:ln>
          </p:spPr>
          <p:txBody>
            <a:bodyPr wrap="none" lIns="36000" tIns="36000" rIns="36000" bIns="36000" anchor="ctr"/>
            <a:lstStyle/>
            <a:p>
              <a:pPr marL="0" marR="0" lvl="0" indent="0" algn="ctr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lavika" panose="02000000000000000000"/>
              </a:endParaRPr>
            </a:p>
          </p:txBody>
        </p:sp>
        <p:pic>
          <p:nvPicPr>
            <p:cNvPr id="21" name="Grafik 252" descr="Daumen-hoch-Zeichen">
              <a:extLst>
                <a:ext uri="{FF2B5EF4-FFF2-40B4-BE49-F238E27FC236}">
                  <a16:creationId xmlns:a16="http://schemas.microsoft.com/office/drawing/2014/main" id="{4EFD8910-0B03-E592-22AB-497C11BE604B}"/>
                </a:ext>
              </a:extLst>
            </p:cNvPr>
            <p:cNvPicPr>
              <a:picLocks noChangeAspect="1"/>
            </p:cNvPicPr>
            <p:nvPr/>
          </p:nvPicPr>
          <p:blipFill>
            <a:blip r:embed="rId42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3"/>
                </a:ext>
              </a:extLst>
            </a:blip>
            <a:stretch>
              <a:fillRect/>
            </a:stretch>
          </p:blipFill>
          <p:spPr>
            <a:xfrm>
              <a:off x="9838151" y="3455704"/>
              <a:ext cx="341444" cy="341444"/>
            </a:xfrm>
            <a:prstGeom prst="rect">
              <a:avLst/>
            </a:prstGeom>
          </p:spPr>
        </p:pic>
      </p:grpSp>
      <p:grpSp>
        <p:nvGrpSpPr>
          <p:cNvPr id="4" name="Gruppieren 257">
            <a:extLst>
              <a:ext uri="{FF2B5EF4-FFF2-40B4-BE49-F238E27FC236}">
                <a16:creationId xmlns:a16="http://schemas.microsoft.com/office/drawing/2014/main" id="{F1EFEADF-95F5-AA00-D624-1E0F4EEBB82C}"/>
              </a:ext>
            </a:extLst>
          </p:cNvPr>
          <p:cNvGrpSpPr/>
          <p:nvPr/>
        </p:nvGrpSpPr>
        <p:grpSpPr>
          <a:xfrm>
            <a:off x="7966272" y="4321635"/>
            <a:ext cx="224648" cy="224648"/>
            <a:chOff x="10357465" y="3428364"/>
            <a:chExt cx="436765" cy="436765"/>
          </a:xfrm>
        </p:grpSpPr>
        <p:sp>
          <p:nvSpPr>
            <p:cNvPr id="8" name="Oval 51">
              <a:extLst>
                <a:ext uri="{FF2B5EF4-FFF2-40B4-BE49-F238E27FC236}">
                  <a16:creationId xmlns:a16="http://schemas.microsoft.com/office/drawing/2014/main" id="{B7F01C03-9CF4-DF5A-82C2-7228C37A7E6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357465" y="3428364"/>
              <a:ext cx="436765" cy="436765"/>
            </a:xfrm>
            <a:prstGeom prst="ellipse">
              <a:avLst/>
            </a:prstGeom>
            <a:solidFill>
              <a:srgbClr val="F04C3E"/>
            </a:solidFill>
            <a:ln w="12700">
              <a:noFill/>
              <a:round/>
              <a:headEnd/>
              <a:tailEnd/>
            </a:ln>
          </p:spPr>
          <p:txBody>
            <a:bodyPr wrap="none" lIns="36000" tIns="36000" rIns="36000" bIns="36000" anchor="ctr"/>
            <a:lstStyle/>
            <a:p>
              <a:pPr marL="0" marR="0" lvl="0" indent="0" algn="ctr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lavika" panose="02000000000000000000"/>
              </a:endParaRPr>
            </a:p>
          </p:txBody>
        </p:sp>
        <p:pic>
          <p:nvPicPr>
            <p:cNvPr id="22" name="Grafik 256" descr="Daumen-hoch-Zeichen">
              <a:extLst>
                <a:ext uri="{FF2B5EF4-FFF2-40B4-BE49-F238E27FC236}">
                  <a16:creationId xmlns:a16="http://schemas.microsoft.com/office/drawing/2014/main" id="{127F2DB8-F0B6-1062-AC4D-7570A13C6D7D}"/>
                </a:ext>
              </a:extLst>
            </p:cNvPr>
            <p:cNvPicPr>
              <a:picLocks noChangeAspect="1"/>
            </p:cNvPicPr>
            <p:nvPr/>
          </p:nvPicPr>
          <p:blipFill>
            <a:blip r:embed="rId42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3"/>
                </a:ext>
              </a:extLst>
            </a:blip>
            <a:stretch>
              <a:fillRect/>
            </a:stretch>
          </p:blipFill>
          <p:spPr>
            <a:xfrm rot="10800000">
              <a:off x="10408522" y="3474756"/>
              <a:ext cx="341444" cy="341444"/>
            </a:xfrm>
            <a:prstGeom prst="rect">
              <a:avLst/>
            </a:prstGeom>
          </p:spPr>
        </p:pic>
      </p:grpSp>
      <p:grpSp>
        <p:nvGrpSpPr>
          <p:cNvPr id="23" name="Gruppieren 257">
            <a:extLst>
              <a:ext uri="{FF2B5EF4-FFF2-40B4-BE49-F238E27FC236}">
                <a16:creationId xmlns:a16="http://schemas.microsoft.com/office/drawing/2014/main" id="{8C61C33D-EE8C-0147-2413-B9B6057D2AEC}"/>
              </a:ext>
            </a:extLst>
          </p:cNvPr>
          <p:cNvGrpSpPr/>
          <p:nvPr/>
        </p:nvGrpSpPr>
        <p:grpSpPr>
          <a:xfrm>
            <a:off x="7966272" y="5033109"/>
            <a:ext cx="224648" cy="224648"/>
            <a:chOff x="10357465" y="3428364"/>
            <a:chExt cx="436765" cy="436765"/>
          </a:xfrm>
        </p:grpSpPr>
        <p:sp>
          <p:nvSpPr>
            <p:cNvPr id="24" name="Oval 51">
              <a:extLst>
                <a:ext uri="{FF2B5EF4-FFF2-40B4-BE49-F238E27FC236}">
                  <a16:creationId xmlns:a16="http://schemas.microsoft.com/office/drawing/2014/main" id="{D8878CD2-7DC3-1B7B-3DC3-5C2103C4C84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357465" y="3428364"/>
              <a:ext cx="436765" cy="436765"/>
            </a:xfrm>
            <a:prstGeom prst="ellipse">
              <a:avLst/>
            </a:prstGeom>
            <a:solidFill>
              <a:srgbClr val="F04C3E"/>
            </a:solidFill>
            <a:ln w="12700">
              <a:noFill/>
              <a:round/>
              <a:headEnd/>
              <a:tailEnd/>
            </a:ln>
          </p:spPr>
          <p:txBody>
            <a:bodyPr wrap="none" lIns="36000" tIns="36000" rIns="36000" bIns="36000" anchor="ctr"/>
            <a:lstStyle/>
            <a:p>
              <a:pPr marL="0" marR="0" lvl="0" indent="0" algn="ctr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lavika" panose="02000000000000000000"/>
              </a:endParaRPr>
            </a:p>
          </p:txBody>
        </p:sp>
        <p:pic>
          <p:nvPicPr>
            <p:cNvPr id="25" name="Grafik 256" descr="Daumen-hoch-Zeichen">
              <a:extLst>
                <a:ext uri="{FF2B5EF4-FFF2-40B4-BE49-F238E27FC236}">
                  <a16:creationId xmlns:a16="http://schemas.microsoft.com/office/drawing/2014/main" id="{A844FF9A-3511-7763-69A9-F4448E371094}"/>
                </a:ext>
              </a:extLst>
            </p:cNvPr>
            <p:cNvPicPr>
              <a:picLocks noChangeAspect="1"/>
            </p:cNvPicPr>
            <p:nvPr/>
          </p:nvPicPr>
          <p:blipFill>
            <a:blip r:embed="rId42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3"/>
                </a:ext>
              </a:extLst>
            </a:blip>
            <a:stretch>
              <a:fillRect/>
            </a:stretch>
          </p:blipFill>
          <p:spPr>
            <a:xfrm rot="10800000">
              <a:off x="10408522" y="3474756"/>
              <a:ext cx="341444" cy="341444"/>
            </a:xfrm>
            <a:prstGeom prst="rect">
              <a:avLst/>
            </a:prstGeom>
          </p:spPr>
        </p:pic>
      </p:grpSp>
      <p:grpSp>
        <p:nvGrpSpPr>
          <p:cNvPr id="26" name="Gruppieren 257">
            <a:extLst>
              <a:ext uri="{FF2B5EF4-FFF2-40B4-BE49-F238E27FC236}">
                <a16:creationId xmlns:a16="http://schemas.microsoft.com/office/drawing/2014/main" id="{C65AC4DE-610A-B397-EC9F-E8AE5DE29B5D}"/>
              </a:ext>
            </a:extLst>
          </p:cNvPr>
          <p:cNvGrpSpPr/>
          <p:nvPr/>
        </p:nvGrpSpPr>
        <p:grpSpPr>
          <a:xfrm>
            <a:off x="7966272" y="3373003"/>
            <a:ext cx="224648" cy="224648"/>
            <a:chOff x="10357465" y="3428364"/>
            <a:chExt cx="436765" cy="436765"/>
          </a:xfrm>
        </p:grpSpPr>
        <p:sp>
          <p:nvSpPr>
            <p:cNvPr id="27" name="Oval 51">
              <a:extLst>
                <a:ext uri="{FF2B5EF4-FFF2-40B4-BE49-F238E27FC236}">
                  <a16:creationId xmlns:a16="http://schemas.microsoft.com/office/drawing/2014/main" id="{4DD8660C-64FD-977A-66F8-BF7E81EC300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357465" y="3428364"/>
              <a:ext cx="436765" cy="436765"/>
            </a:xfrm>
            <a:prstGeom prst="ellipse">
              <a:avLst/>
            </a:prstGeom>
            <a:solidFill>
              <a:srgbClr val="F04C3E"/>
            </a:solidFill>
            <a:ln w="12700">
              <a:noFill/>
              <a:round/>
              <a:headEnd/>
              <a:tailEnd/>
            </a:ln>
          </p:spPr>
          <p:txBody>
            <a:bodyPr wrap="none" lIns="36000" tIns="36000" rIns="36000" bIns="36000" anchor="ctr"/>
            <a:lstStyle/>
            <a:p>
              <a:pPr marL="0" marR="0" lvl="0" indent="0" algn="ctr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lavika" panose="02000000000000000000"/>
              </a:endParaRPr>
            </a:p>
          </p:txBody>
        </p:sp>
        <p:pic>
          <p:nvPicPr>
            <p:cNvPr id="28" name="Grafik 256" descr="Daumen-hoch-Zeichen">
              <a:extLst>
                <a:ext uri="{FF2B5EF4-FFF2-40B4-BE49-F238E27FC236}">
                  <a16:creationId xmlns:a16="http://schemas.microsoft.com/office/drawing/2014/main" id="{6FCFDD9F-B8F8-82DF-71EC-399ED2C45429}"/>
                </a:ext>
              </a:extLst>
            </p:cNvPr>
            <p:cNvPicPr>
              <a:picLocks noChangeAspect="1"/>
            </p:cNvPicPr>
            <p:nvPr/>
          </p:nvPicPr>
          <p:blipFill>
            <a:blip r:embed="rId42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3"/>
                </a:ext>
              </a:extLst>
            </a:blip>
            <a:stretch>
              <a:fillRect/>
            </a:stretch>
          </p:blipFill>
          <p:spPr>
            <a:xfrm rot="10800000">
              <a:off x="10408522" y="3474756"/>
              <a:ext cx="341444" cy="341444"/>
            </a:xfrm>
            <a:prstGeom prst="rect">
              <a:avLst/>
            </a:prstGeom>
          </p:spPr>
        </p:pic>
      </p:grpSp>
      <p:sp>
        <p:nvSpPr>
          <p:cNvPr id="29" name="Freeform 12">
            <a:extLst>
              <a:ext uri="{FF2B5EF4-FFF2-40B4-BE49-F238E27FC236}">
                <a16:creationId xmlns:a16="http://schemas.microsoft.com/office/drawing/2014/main" id="{4A2C6DE2-8668-CDA7-CAA9-C7CF8798312D}"/>
              </a:ext>
            </a:extLst>
          </p:cNvPr>
          <p:cNvSpPr>
            <a:spLocks noChangeAspect="1"/>
          </p:cNvSpPr>
          <p:nvPr>
            <p:custDataLst>
              <p:tags r:id="rId37"/>
            </p:custDataLst>
          </p:nvPr>
        </p:nvSpPr>
        <p:spPr bwMode="auto">
          <a:xfrm>
            <a:off x="4040277" y="3115976"/>
            <a:ext cx="279409" cy="264387"/>
          </a:xfrm>
          <a:custGeom>
            <a:avLst/>
            <a:gdLst>
              <a:gd name="T0" fmla="*/ 561 w 573"/>
              <a:gd name="T1" fmla="*/ 0 h 543"/>
              <a:gd name="T2" fmla="*/ 167 w 573"/>
              <a:gd name="T3" fmla="*/ 396 h 543"/>
              <a:gd name="T4" fmla="*/ 86 w 573"/>
              <a:gd name="T5" fmla="*/ 282 h 543"/>
              <a:gd name="T6" fmla="*/ 0 w 573"/>
              <a:gd name="T7" fmla="*/ 330 h 543"/>
              <a:gd name="T8" fmla="*/ 128 w 573"/>
              <a:gd name="T9" fmla="*/ 543 h 543"/>
              <a:gd name="T10" fmla="*/ 215 w 573"/>
              <a:gd name="T11" fmla="*/ 482 h 543"/>
              <a:gd name="T12" fmla="*/ 573 w 573"/>
              <a:gd name="T13" fmla="*/ 18 h 543"/>
              <a:gd name="T14" fmla="*/ 561 w 573"/>
              <a:gd name="T15" fmla="*/ 0 h 543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573"/>
              <a:gd name="T25" fmla="*/ 0 h 543"/>
              <a:gd name="T26" fmla="*/ 573 w 573"/>
              <a:gd name="T27" fmla="*/ 543 h 543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573" h="543">
                <a:moveTo>
                  <a:pt x="561" y="0"/>
                </a:moveTo>
                <a:cubicBezTo>
                  <a:pt x="350" y="120"/>
                  <a:pt x="212" y="317"/>
                  <a:pt x="167" y="396"/>
                </a:cubicBezTo>
                <a:cubicBezTo>
                  <a:pt x="132" y="318"/>
                  <a:pt x="110" y="290"/>
                  <a:pt x="86" y="282"/>
                </a:cubicBezTo>
                <a:cubicBezTo>
                  <a:pt x="32" y="285"/>
                  <a:pt x="9" y="321"/>
                  <a:pt x="0" y="330"/>
                </a:cubicBezTo>
                <a:cubicBezTo>
                  <a:pt x="62" y="348"/>
                  <a:pt x="119" y="504"/>
                  <a:pt x="128" y="543"/>
                </a:cubicBezTo>
                <a:cubicBezTo>
                  <a:pt x="171" y="512"/>
                  <a:pt x="215" y="482"/>
                  <a:pt x="215" y="482"/>
                </a:cubicBezTo>
                <a:cubicBezTo>
                  <a:pt x="251" y="405"/>
                  <a:pt x="359" y="200"/>
                  <a:pt x="573" y="18"/>
                </a:cubicBezTo>
                <a:cubicBezTo>
                  <a:pt x="573" y="18"/>
                  <a:pt x="567" y="9"/>
                  <a:pt x="561" y="0"/>
                </a:cubicBezTo>
                <a:close/>
              </a:path>
            </a:pathLst>
          </a:custGeom>
          <a:solidFill>
            <a:srgbClr val="2C973E"/>
          </a:solidFill>
          <a:ln w="3175">
            <a:noFill/>
            <a:prstDash val="dash"/>
            <a:round/>
            <a:headEnd/>
            <a:tailEnd/>
          </a:ln>
          <a:effectLst/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Klavika" panose="02000000000000000000"/>
            </a:endParaRPr>
          </a:p>
        </p:txBody>
      </p:sp>
      <p:sp>
        <p:nvSpPr>
          <p:cNvPr id="31" name="Right Brace 30">
            <a:extLst>
              <a:ext uri="{FF2B5EF4-FFF2-40B4-BE49-F238E27FC236}">
                <a16:creationId xmlns:a16="http://schemas.microsoft.com/office/drawing/2014/main" id="{C40F0057-FAED-8BEA-1256-9402C23BDF59}"/>
              </a:ext>
            </a:extLst>
          </p:cNvPr>
          <p:cNvSpPr/>
          <p:nvPr/>
        </p:nvSpPr>
        <p:spPr>
          <a:xfrm>
            <a:off x="6681216" y="1726959"/>
            <a:ext cx="231648" cy="2310042"/>
          </a:xfrm>
          <a:prstGeom prst="rightBrace">
            <a:avLst>
              <a:gd name="adj1" fmla="val 34455"/>
              <a:gd name="adj2" fmla="val 50000"/>
            </a:avLst>
          </a:prstGeom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2" name="Right Brace 31">
            <a:extLst>
              <a:ext uri="{FF2B5EF4-FFF2-40B4-BE49-F238E27FC236}">
                <a16:creationId xmlns:a16="http://schemas.microsoft.com/office/drawing/2014/main" id="{36929C4F-C4BC-E2F6-1BE3-3EAEA335FDCB}"/>
              </a:ext>
            </a:extLst>
          </p:cNvPr>
          <p:cNvSpPr/>
          <p:nvPr/>
        </p:nvSpPr>
        <p:spPr>
          <a:xfrm>
            <a:off x="6685304" y="4112481"/>
            <a:ext cx="231648" cy="1821784"/>
          </a:xfrm>
          <a:prstGeom prst="rightBrace">
            <a:avLst>
              <a:gd name="adj1" fmla="val 34455"/>
              <a:gd name="adj2" fmla="val 50000"/>
            </a:avLst>
          </a:prstGeom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0358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F3F434E7-74BA-087F-1BD5-FE832AA1E59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03588226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F3F434E7-74BA-087F-1BD5-FE832AA1E59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0FCA8915-49F5-B0A7-3E79-B63CE49D514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sz="2800"/>
              <a:t>Rigorous methods were used to create a strong performing model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F7F7694-9F2E-418D-9BB3-EE5CEB834DC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8C09DA5-8C43-4702-8900-F4900F7A89AE}" type="slidenum">
              <a:rPr lang="en-US" smtClean="0"/>
              <a:pPr/>
              <a:t>5</a:t>
            </a:fld>
            <a:endParaRPr lang="en-US"/>
          </a:p>
        </p:txBody>
      </p:sp>
      <p:sp>
        <p:nvSpPr>
          <p:cNvPr id="8" name="Freeform 5">
            <a:extLst>
              <a:ext uri="{FF2B5EF4-FFF2-40B4-BE49-F238E27FC236}">
                <a16:creationId xmlns:a16="http://schemas.microsoft.com/office/drawing/2014/main" id="{C60DD031-6773-6BC6-A2CE-C8D20EF4EB1E}"/>
              </a:ext>
            </a:extLst>
          </p:cNvPr>
          <p:cNvSpPr/>
          <p:nvPr/>
        </p:nvSpPr>
        <p:spPr bwMode="gray">
          <a:xfrm>
            <a:off x="549289" y="1368426"/>
            <a:ext cx="3321984" cy="4459990"/>
          </a:xfrm>
          <a:custGeom>
            <a:avLst/>
            <a:gdLst>
              <a:gd name="connsiteX0" fmla="*/ 2243318 w 2476881"/>
              <a:gd name="connsiteY0" fmla="*/ 3013605 h 3013614"/>
              <a:gd name="connsiteX1" fmla="*/ 233543 w 2476881"/>
              <a:gd name="connsiteY1" fmla="*/ 3013605 h 3013614"/>
              <a:gd name="connsiteX2" fmla="*/ -10 w 2476881"/>
              <a:gd name="connsiteY2" fmla="*/ 2780052 h 3013614"/>
              <a:gd name="connsiteX3" fmla="*/ -10 w 2476881"/>
              <a:gd name="connsiteY3" fmla="*/ 233543 h 3013614"/>
              <a:gd name="connsiteX4" fmla="*/ 233638 w 2476881"/>
              <a:gd name="connsiteY4" fmla="*/ -10 h 3013614"/>
              <a:gd name="connsiteX5" fmla="*/ 2243414 w 2476881"/>
              <a:gd name="connsiteY5" fmla="*/ -10 h 3013614"/>
              <a:gd name="connsiteX6" fmla="*/ 2476871 w 2476881"/>
              <a:gd name="connsiteY6" fmla="*/ 233543 h 3013614"/>
              <a:gd name="connsiteX7" fmla="*/ 2476871 w 2476881"/>
              <a:gd name="connsiteY7" fmla="*/ 2780052 h 3013614"/>
              <a:gd name="connsiteX8" fmla="*/ 2243318 w 2476881"/>
              <a:gd name="connsiteY8" fmla="*/ 3013605 h 3013614"/>
              <a:gd name="connsiteX9" fmla="*/ 233543 w 2476881"/>
              <a:gd name="connsiteY9" fmla="*/ 42757 h 3013614"/>
              <a:gd name="connsiteX10" fmla="*/ 43043 w 2476881"/>
              <a:gd name="connsiteY10" fmla="*/ 233257 h 3013614"/>
              <a:gd name="connsiteX11" fmla="*/ 43043 w 2476881"/>
              <a:gd name="connsiteY11" fmla="*/ 2780052 h 3013614"/>
              <a:gd name="connsiteX12" fmla="*/ 233543 w 2476881"/>
              <a:gd name="connsiteY12" fmla="*/ 2970552 h 3013614"/>
              <a:gd name="connsiteX13" fmla="*/ 2243318 w 2476881"/>
              <a:gd name="connsiteY13" fmla="*/ 2970552 h 3013614"/>
              <a:gd name="connsiteX14" fmla="*/ 2433818 w 2476881"/>
              <a:gd name="connsiteY14" fmla="*/ 2780052 h 3013614"/>
              <a:gd name="connsiteX15" fmla="*/ 2433818 w 2476881"/>
              <a:gd name="connsiteY15" fmla="*/ 233543 h 3013614"/>
              <a:gd name="connsiteX16" fmla="*/ 2243318 w 2476881"/>
              <a:gd name="connsiteY16" fmla="*/ 43043 h 30136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2476881" h="3013614">
                <a:moveTo>
                  <a:pt x="2243318" y="3013605"/>
                </a:moveTo>
                <a:lnTo>
                  <a:pt x="233543" y="3013605"/>
                </a:lnTo>
                <a:cubicBezTo>
                  <a:pt x="104620" y="3013443"/>
                  <a:pt x="148" y="2908973"/>
                  <a:pt x="-10" y="2780052"/>
                </a:cubicBezTo>
                <a:lnTo>
                  <a:pt x="-10" y="233543"/>
                </a:lnTo>
                <a:cubicBezTo>
                  <a:pt x="148" y="104583"/>
                  <a:pt x="104679" y="95"/>
                  <a:pt x="233638" y="-10"/>
                </a:cubicBezTo>
                <a:lnTo>
                  <a:pt x="2243414" y="-10"/>
                </a:lnTo>
                <a:cubicBezTo>
                  <a:pt x="2372296" y="200"/>
                  <a:pt x="2476709" y="104658"/>
                  <a:pt x="2476871" y="233543"/>
                </a:cubicBezTo>
                <a:lnTo>
                  <a:pt x="2476871" y="2780052"/>
                </a:lnTo>
                <a:cubicBezTo>
                  <a:pt x="2476709" y="2908973"/>
                  <a:pt x="2372239" y="3013443"/>
                  <a:pt x="2243318" y="3013605"/>
                </a:cubicBezTo>
                <a:close/>
                <a:moveTo>
                  <a:pt x="233543" y="42757"/>
                </a:moveTo>
                <a:cubicBezTo>
                  <a:pt x="128441" y="43019"/>
                  <a:pt x="43305" y="128156"/>
                  <a:pt x="43043" y="233257"/>
                </a:cubicBezTo>
                <a:lnTo>
                  <a:pt x="43043" y="2780052"/>
                </a:lnTo>
                <a:cubicBezTo>
                  <a:pt x="43357" y="2885132"/>
                  <a:pt x="128463" y="2970238"/>
                  <a:pt x="233543" y="2970552"/>
                </a:cubicBezTo>
                <a:lnTo>
                  <a:pt x="2243318" y="2970552"/>
                </a:lnTo>
                <a:cubicBezTo>
                  <a:pt x="2348398" y="2970238"/>
                  <a:pt x="2433504" y="2885132"/>
                  <a:pt x="2433818" y="2780052"/>
                </a:cubicBezTo>
                <a:lnTo>
                  <a:pt x="2433818" y="233543"/>
                </a:lnTo>
                <a:cubicBezTo>
                  <a:pt x="2433552" y="128441"/>
                  <a:pt x="2348417" y="43305"/>
                  <a:pt x="2243318" y="43043"/>
                </a:cubicBezTo>
                <a:close/>
              </a:path>
            </a:pathLst>
          </a:custGeom>
          <a:solidFill>
            <a:schemeClr val="tx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>
              <a:solidFill>
                <a:schemeClr val="accent1"/>
              </a:solidFill>
            </a:endParaRP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722AAE48-0073-AE7A-15F1-128D616F2DBB}"/>
              </a:ext>
            </a:extLst>
          </p:cNvPr>
          <p:cNvGrpSpPr/>
          <p:nvPr/>
        </p:nvGrpSpPr>
        <p:grpSpPr>
          <a:xfrm>
            <a:off x="955913" y="989540"/>
            <a:ext cx="2523425" cy="678090"/>
            <a:chOff x="955900" y="1857375"/>
            <a:chExt cx="2523425" cy="678090"/>
          </a:xfrm>
        </p:grpSpPr>
        <p:sp>
          <p:nvSpPr>
            <p:cNvPr id="10" name="Rounded Rectangle 6">
              <a:extLst>
                <a:ext uri="{FF2B5EF4-FFF2-40B4-BE49-F238E27FC236}">
                  <a16:creationId xmlns:a16="http://schemas.microsoft.com/office/drawing/2014/main" id="{3F015DC4-074F-BEEB-39FA-026C5E13C2D1}"/>
                </a:ext>
              </a:extLst>
            </p:cNvPr>
            <p:cNvSpPr/>
            <p:nvPr/>
          </p:nvSpPr>
          <p:spPr bwMode="gray">
            <a:xfrm>
              <a:off x="1013131" y="1914735"/>
              <a:ext cx="2408834" cy="563500"/>
            </a:xfrm>
            <a:prstGeom prst="roundRect">
              <a:avLst>
                <a:gd name="adj" fmla="val 50000"/>
              </a:avLst>
            </a:prstGeom>
            <a:solidFill>
              <a:srgbClr val="0046B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accent1"/>
                </a:solidFill>
              </a:endParaRPr>
            </a:p>
          </p:txBody>
        </p:sp>
        <p:sp>
          <p:nvSpPr>
            <p:cNvPr id="11" name="Freeform 7">
              <a:extLst>
                <a:ext uri="{FF2B5EF4-FFF2-40B4-BE49-F238E27FC236}">
                  <a16:creationId xmlns:a16="http://schemas.microsoft.com/office/drawing/2014/main" id="{EDB6911C-B5A9-FA6E-4330-A9937FCB7349}"/>
                </a:ext>
              </a:extLst>
            </p:cNvPr>
            <p:cNvSpPr/>
            <p:nvPr/>
          </p:nvSpPr>
          <p:spPr bwMode="gray">
            <a:xfrm>
              <a:off x="955900" y="1857375"/>
              <a:ext cx="2523425" cy="678090"/>
            </a:xfrm>
            <a:custGeom>
              <a:avLst/>
              <a:gdLst>
                <a:gd name="connsiteX0" fmla="*/ 1628670 w 1881473"/>
                <a:gd name="connsiteY0" fmla="*/ 505577 h 505586"/>
                <a:gd name="connsiteX1" fmla="*/ 252784 w 1881473"/>
                <a:gd name="connsiteY1" fmla="*/ 505577 h 505586"/>
                <a:gd name="connsiteX2" fmla="*/ -10 w 1881473"/>
                <a:gd name="connsiteY2" fmla="*/ 252784 h 505586"/>
                <a:gd name="connsiteX3" fmla="*/ 252784 w 1881473"/>
                <a:gd name="connsiteY3" fmla="*/ -10 h 505586"/>
                <a:gd name="connsiteX4" fmla="*/ 1628670 w 1881473"/>
                <a:gd name="connsiteY4" fmla="*/ -10 h 505586"/>
                <a:gd name="connsiteX5" fmla="*/ 1881463 w 1881473"/>
                <a:gd name="connsiteY5" fmla="*/ 252784 h 505586"/>
                <a:gd name="connsiteX6" fmla="*/ 1628670 w 1881473"/>
                <a:gd name="connsiteY6" fmla="*/ 505577 h 505586"/>
                <a:gd name="connsiteX7" fmla="*/ 252784 w 1881473"/>
                <a:gd name="connsiteY7" fmla="*/ 85429 h 505586"/>
                <a:gd name="connsiteX8" fmla="*/ 85429 w 1881473"/>
                <a:gd name="connsiteY8" fmla="*/ 252784 h 505586"/>
                <a:gd name="connsiteX9" fmla="*/ 252784 w 1881473"/>
                <a:gd name="connsiteY9" fmla="*/ 420138 h 505586"/>
                <a:gd name="connsiteX10" fmla="*/ 1628670 w 1881473"/>
                <a:gd name="connsiteY10" fmla="*/ 420138 h 505586"/>
                <a:gd name="connsiteX11" fmla="*/ 1796024 w 1881473"/>
                <a:gd name="connsiteY11" fmla="*/ 252784 h 505586"/>
                <a:gd name="connsiteX12" fmla="*/ 1628670 w 1881473"/>
                <a:gd name="connsiteY12" fmla="*/ 85429 h 5055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881473" h="505586">
                  <a:moveTo>
                    <a:pt x="1628670" y="505577"/>
                  </a:moveTo>
                  <a:lnTo>
                    <a:pt x="252784" y="505577"/>
                  </a:lnTo>
                  <a:cubicBezTo>
                    <a:pt x="113170" y="505577"/>
                    <a:pt x="-10" y="392397"/>
                    <a:pt x="-10" y="252784"/>
                  </a:cubicBezTo>
                  <a:cubicBezTo>
                    <a:pt x="-10" y="113170"/>
                    <a:pt x="113170" y="-10"/>
                    <a:pt x="252784" y="-10"/>
                  </a:cubicBezTo>
                  <a:lnTo>
                    <a:pt x="1628670" y="-10"/>
                  </a:lnTo>
                  <a:cubicBezTo>
                    <a:pt x="1768287" y="-10"/>
                    <a:pt x="1881463" y="113170"/>
                    <a:pt x="1881463" y="252784"/>
                  </a:cubicBezTo>
                  <a:cubicBezTo>
                    <a:pt x="1881463" y="392397"/>
                    <a:pt x="1768287" y="505577"/>
                    <a:pt x="1628670" y="505577"/>
                  </a:cubicBezTo>
                  <a:close/>
                  <a:moveTo>
                    <a:pt x="252784" y="85429"/>
                  </a:moveTo>
                  <a:cubicBezTo>
                    <a:pt x="160357" y="85429"/>
                    <a:pt x="85429" y="160357"/>
                    <a:pt x="85429" y="252784"/>
                  </a:cubicBezTo>
                  <a:cubicBezTo>
                    <a:pt x="85429" y="345210"/>
                    <a:pt x="160357" y="420138"/>
                    <a:pt x="252784" y="420138"/>
                  </a:cubicBezTo>
                  <a:lnTo>
                    <a:pt x="1628670" y="420138"/>
                  </a:lnTo>
                  <a:cubicBezTo>
                    <a:pt x="1721101" y="420138"/>
                    <a:pt x="1796024" y="345210"/>
                    <a:pt x="1796024" y="252784"/>
                  </a:cubicBezTo>
                  <a:cubicBezTo>
                    <a:pt x="1796024" y="160357"/>
                    <a:pt x="1721101" y="85429"/>
                    <a:pt x="1628670" y="85429"/>
                  </a:cubicBez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accent1"/>
                </a:solidFill>
              </a:endParaRPr>
            </a:p>
          </p:txBody>
        </p:sp>
        <p:sp>
          <p:nvSpPr>
            <p:cNvPr id="12" name="Freeform 8">
              <a:extLst>
                <a:ext uri="{FF2B5EF4-FFF2-40B4-BE49-F238E27FC236}">
                  <a16:creationId xmlns:a16="http://schemas.microsoft.com/office/drawing/2014/main" id="{E6354D9C-49A3-65F4-81B6-BC48ECA02E2E}"/>
                </a:ext>
              </a:extLst>
            </p:cNvPr>
            <p:cNvSpPr/>
            <p:nvPr/>
          </p:nvSpPr>
          <p:spPr bwMode="gray">
            <a:xfrm>
              <a:off x="2135024" y="2116579"/>
              <a:ext cx="150615" cy="150742"/>
            </a:xfrm>
            <a:custGeom>
              <a:avLst/>
              <a:gdLst>
                <a:gd name="connsiteX0" fmla="*/ 56092 w 112299"/>
                <a:gd name="connsiteY0" fmla="*/ 112385 h 112394"/>
                <a:gd name="connsiteX1" fmla="*/ 56092 w 112299"/>
                <a:gd name="connsiteY1" fmla="*/ 112385 h 112394"/>
                <a:gd name="connsiteX2" fmla="*/ -10 w 112299"/>
                <a:gd name="connsiteY2" fmla="*/ 56188 h 112394"/>
                <a:gd name="connsiteX3" fmla="*/ -10 w 112299"/>
                <a:gd name="connsiteY3" fmla="*/ 56188 h 112394"/>
                <a:gd name="connsiteX4" fmla="*/ 56092 w 112299"/>
                <a:gd name="connsiteY4" fmla="*/ -10 h 112394"/>
                <a:gd name="connsiteX5" fmla="*/ 56092 w 112299"/>
                <a:gd name="connsiteY5" fmla="*/ -10 h 112394"/>
                <a:gd name="connsiteX6" fmla="*/ 112290 w 112299"/>
                <a:gd name="connsiteY6" fmla="*/ 56188 h 112394"/>
                <a:gd name="connsiteX7" fmla="*/ 112290 w 112299"/>
                <a:gd name="connsiteY7" fmla="*/ 56188 h 112394"/>
                <a:gd name="connsiteX8" fmla="*/ 56092 w 112299"/>
                <a:gd name="connsiteY8" fmla="*/ 112385 h 1123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2299" h="112394">
                  <a:moveTo>
                    <a:pt x="56092" y="112385"/>
                  </a:moveTo>
                  <a:lnTo>
                    <a:pt x="56092" y="112385"/>
                  </a:lnTo>
                  <a:cubicBezTo>
                    <a:pt x="25136" y="112228"/>
                    <a:pt x="95" y="87144"/>
                    <a:pt x="-10" y="56188"/>
                  </a:cubicBezTo>
                  <a:lnTo>
                    <a:pt x="-10" y="56188"/>
                  </a:lnTo>
                  <a:cubicBezTo>
                    <a:pt x="95" y="25231"/>
                    <a:pt x="25136" y="147"/>
                    <a:pt x="56092" y="-10"/>
                  </a:cubicBezTo>
                  <a:lnTo>
                    <a:pt x="56092" y="-10"/>
                  </a:lnTo>
                  <a:cubicBezTo>
                    <a:pt x="87087" y="95"/>
                    <a:pt x="112185" y="25194"/>
                    <a:pt x="112290" y="56188"/>
                  </a:cubicBezTo>
                  <a:lnTo>
                    <a:pt x="112290" y="56188"/>
                  </a:lnTo>
                  <a:cubicBezTo>
                    <a:pt x="112185" y="87181"/>
                    <a:pt x="87087" y="112280"/>
                    <a:pt x="56092" y="112385"/>
                  </a:cubicBez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accent1"/>
                </a:solidFill>
              </a:endParaRPr>
            </a:p>
          </p:txBody>
        </p:sp>
      </p:grpSp>
      <p:sp>
        <p:nvSpPr>
          <p:cNvPr id="13" name="Freeform 9">
            <a:extLst>
              <a:ext uri="{FF2B5EF4-FFF2-40B4-BE49-F238E27FC236}">
                <a16:creationId xmlns:a16="http://schemas.microsoft.com/office/drawing/2014/main" id="{55D09FF0-A27C-FC54-0AAB-EBCA712E23D7}"/>
              </a:ext>
            </a:extLst>
          </p:cNvPr>
          <p:cNvSpPr/>
          <p:nvPr/>
        </p:nvSpPr>
        <p:spPr bwMode="gray">
          <a:xfrm>
            <a:off x="4433496" y="1368426"/>
            <a:ext cx="3321984" cy="4459990"/>
          </a:xfrm>
          <a:custGeom>
            <a:avLst/>
            <a:gdLst>
              <a:gd name="connsiteX0" fmla="*/ 2243319 w 2476881"/>
              <a:gd name="connsiteY0" fmla="*/ 3013605 h 3013614"/>
              <a:gd name="connsiteX1" fmla="*/ 233543 w 2476881"/>
              <a:gd name="connsiteY1" fmla="*/ 3013605 h 3013614"/>
              <a:gd name="connsiteX2" fmla="*/ -10 w 2476881"/>
              <a:gd name="connsiteY2" fmla="*/ 2780052 h 3013614"/>
              <a:gd name="connsiteX3" fmla="*/ -10 w 2476881"/>
              <a:gd name="connsiteY3" fmla="*/ 233543 h 3013614"/>
              <a:gd name="connsiteX4" fmla="*/ 233543 w 2476881"/>
              <a:gd name="connsiteY4" fmla="*/ -10 h 3013614"/>
              <a:gd name="connsiteX5" fmla="*/ 2243319 w 2476881"/>
              <a:gd name="connsiteY5" fmla="*/ -10 h 3013614"/>
              <a:gd name="connsiteX6" fmla="*/ 2476872 w 2476881"/>
              <a:gd name="connsiteY6" fmla="*/ 233543 h 3013614"/>
              <a:gd name="connsiteX7" fmla="*/ 2476872 w 2476881"/>
              <a:gd name="connsiteY7" fmla="*/ 2780052 h 3013614"/>
              <a:gd name="connsiteX8" fmla="*/ 2243319 w 2476881"/>
              <a:gd name="connsiteY8" fmla="*/ 3013605 h 3013614"/>
              <a:gd name="connsiteX9" fmla="*/ 233543 w 2476881"/>
              <a:gd name="connsiteY9" fmla="*/ 42757 h 3013614"/>
              <a:gd name="connsiteX10" fmla="*/ 43043 w 2476881"/>
              <a:gd name="connsiteY10" fmla="*/ 233257 h 3013614"/>
              <a:gd name="connsiteX11" fmla="*/ 43043 w 2476881"/>
              <a:gd name="connsiteY11" fmla="*/ 2780052 h 3013614"/>
              <a:gd name="connsiteX12" fmla="*/ 233543 w 2476881"/>
              <a:gd name="connsiteY12" fmla="*/ 2970552 h 3013614"/>
              <a:gd name="connsiteX13" fmla="*/ 2243319 w 2476881"/>
              <a:gd name="connsiteY13" fmla="*/ 2970552 h 3013614"/>
              <a:gd name="connsiteX14" fmla="*/ 2433819 w 2476881"/>
              <a:gd name="connsiteY14" fmla="*/ 2780052 h 3013614"/>
              <a:gd name="connsiteX15" fmla="*/ 2433819 w 2476881"/>
              <a:gd name="connsiteY15" fmla="*/ 233543 h 3013614"/>
              <a:gd name="connsiteX16" fmla="*/ 2243319 w 2476881"/>
              <a:gd name="connsiteY16" fmla="*/ 43043 h 30136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2476881" h="3013614">
                <a:moveTo>
                  <a:pt x="2243319" y="3013605"/>
                </a:moveTo>
                <a:lnTo>
                  <a:pt x="233543" y="3013605"/>
                </a:lnTo>
                <a:cubicBezTo>
                  <a:pt x="104622" y="3013443"/>
                  <a:pt x="152" y="2908973"/>
                  <a:pt x="-10" y="2780052"/>
                </a:cubicBezTo>
                <a:lnTo>
                  <a:pt x="-10" y="233543"/>
                </a:lnTo>
                <a:cubicBezTo>
                  <a:pt x="152" y="104620"/>
                  <a:pt x="104622" y="147"/>
                  <a:pt x="233543" y="-10"/>
                </a:cubicBezTo>
                <a:lnTo>
                  <a:pt x="2243319" y="-10"/>
                </a:lnTo>
                <a:cubicBezTo>
                  <a:pt x="2372239" y="147"/>
                  <a:pt x="2476709" y="104620"/>
                  <a:pt x="2476872" y="233543"/>
                </a:cubicBezTo>
                <a:lnTo>
                  <a:pt x="2476872" y="2780052"/>
                </a:lnTo>
                <a:cubicBezTo>
                  <a:pt x="2476709" y="2908973"/>
                  <a:pt x="2372239" y="3013443"/>
                  <a:pt x="2243319" y="3013605"/>
                </a:cubicBezTo>
                <a:close/>
                <a:moveTo>
                  <a:pt x="233543" y="42757"/>
                </a:moveTo>
                <a:cubicBezTo>
                  <a:pt x="128445" y="43019"/>
                  <a:pt x="43310" y="128156"/>
                  <a:pt x="43043" y="233257"/>
                </a:cubicBezTo>
                <a:lnTo>
                  <a:pt x="43043" y="2780052"/>
                </a:lnTo>
                <a:cubicBezTo>
                  <a:pt x="43358" y="2885132"/>
                  <a:pt x="128463" y="2970238"/>
                  <a:pt x="233543" y="2970552"/>
                </a:cubicBezTo>
                <a:lnTo>
                  <a:pt x="2243319" y="2970552"/>
                </a:lnTo>
                <a:cubicBezTo>
                  <a:pt x="2348398" y="2970238"/>
                  <a:pt x="2433504" y="2885132"/>
                  <a:pt x="2433819" y="2780052"/>
                </a:cubicBezTo>
                <a:lnTo>
                  <a:pt x="2433819" y="233543"/>
                </a:lnTo>
                <a:cubicBezTo>
                  <a:pt x="2433562" y="128441"/>
                  <a:pt x="2348417" y="43305"/>
                  <a:pt x="2243319" y="43043"/>
                </a:cubicBezTo>
                <a:close/>
              </a:path>
            </a:pathLst>
          </a:custGeom>
          <a:solidFill>
            <a:schemeClr val="tx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>
              <a:solidFill>
                <a:schemeClr val="accent1"/>
              </a:solidFill>
            </a:endParaRP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945CCCE9-9C60-6764-2BA9-595D92970800}"/>
              </a:ext>
            </a:extLst>
          </p:cNvPr>
          <p:cNvGrpSpPr/>
          <p:nvPr/>
        </p:nvGrpSpPr>
        <p:grpSpPr>
          <a:xfrm>
            <a:off x="4832838" y="989540"/>
            <a:ext cx="2523297" cy="678090"/>
            <a:chOff x="4832825" y="1857375"/>
            <a:chExt cx="2523297" cy="678090"/>
          </a:xfrm>
        </p:grpSpPr>
        <p:sp>
          <p:nvSpPr>
            <p:cNvPr id="15" name="Rounded Rectangle 10">
              <a:extLst>
                <a:ext uri="{FF2B5EF4-FFF2-40B4-BE49-F238E27FC236}">
                  <a16:creationId xmlns:a16="http://schemas.microsoft.com/office/drawing/2014/main" id="{FBB63100-ECA6-2DF0-50B7-BC09CA15EE3A}"/>
                </a:ext>
              </a:extLst>
            </p:cNvPr>
            <p:cNvSpPr/>
            <p:nvPr/>
          </p:nvSpPr>
          <p:spPr bwMode="gray">
            <a:xfrm>
              <a:off x="4890057" y="1914735"/>
              <a:ext cx="2408834" cy="563500"/>
            </a:xfrm>
            <a:prstGeom prst="roundRect">
              <a:avLst>
                <a:gd name="adj" fmla="val 50000"/>
              </a:avLst>
            </a:prstGeom>
            <a:solidFill>
              <a:srgbClr val="0046B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accent1"/>
                </a:solidFill>
              </a:endParaRPr>
            </a:p>
          </p:txBody>
        </p:sp>
        <p:sp>
          <p:nvSpPr>
            <p:cNvPr id="16" name="Freeform 11">
              <a:extLst>
                <a:ext uri="{FF2B5EF4-FFF2-40B4-BE49-F238E27FC236}">
                  <a16:creationId xmlns:a16="http://schemas.microsoft.com/office/drawing/2014/main" id="{E4AF208B-126A-9559-0219-5B86DD915BE6}"/>
                </a:ext>
              </a:extLst>
            </p:cNvPr>
            <p:cNvSpPr/>
            <p:nvPr/>
          </p:nvSpPr>
          <p:spPr bwMode="gray">
            <a:xfrm>
              <a:off x="4832825" y="1857375"/>
              <a:ext cx="2523297" cy="678090"/>
            </a:xfrm>
            <a:custGeom>
              <a:avLst/>
              <a:gdLst>
                <a:gd name="connsiteX0" fmla="*/ 1628575 w 1881378"/>
                <a:gd name="connsiteY0" fmla="*/ 505577 h 505586"/>
                <a:gd name="connsiteX1" fmla="*/ 252784 w 1881378"/>
                <a:gd name="connsiteY1" fmla="*/ 505577 h 505586"/>
                <a:gd name="connsiteX2" fmla="*/ -10 w 1881378"/>
                <a:gd name="connsiteY2" fmla="*/ 252784 h 505586"/>
                <a:gd name="connsiteX3" fmla="*/ 252784 w 1881378"/>
                <a:gd name="connsiteY3" fmla="*/ -10 h 505586"/>
                <a:gd name="connsiteX4" fmla="*/ 1628575 w 1881378"/>
                <a:gd name="connsiteY4" fmla="*/ -10 h 505586"/>
                <a:gd name="connsiteX5" fmla="*/ 1881368 w 1881378"/>
                <a:gd name="connsiteY5" fmla="*/ 252784 h 505586"/>
                <a:gd name="connsiteX6" fmla="*/ 1628575 w 1881378"/>
                <a:gd name="connsiteY6" fmla="*/ 505577 h 505586"/>
                <a:gd name="connsiteX7" fmla="*/ 252784 w 1881378"/>
                <a:gd name="connsiteY7" fmla="*/ 85429 h 505586"/>
                <a:gd name="connsiteX8" fmla="*/ 85429 w 1881378"/>
                <a:gd name="connsiteY8" fmla="*/ 252784 h 505586"/>
                <a:gd name="connsiteX9" fmla="*/ 252784 w 1881378"/>
                <a:gd name="connsiteY9" fmla="*/ 420138 h 505586"/>
                <a:gd name="connsiteX10" fmla="*/ 1628575 w 1881378"/>
                <a:gd name="connsiteY10" fmla="*/ 420138 h 505586"/>
                <a:gd name="connsiteX11" fmla="*/ 1795929 w 1881378"/>
                <a:gd name="connsiteY11" fmla="*/ 252784 h 505586"/>
                <a:gd name="connsiteX12" fmla="*/ 1628575 w 1881378"/>
                <a:gd name="connsiteY12" fmla="*/ 85429 h 5055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881378" h="505586">
                  <a:moveTo>
                    <a:pt x="1628575" y="505577"/>
                  </a:moveTo>
                  <a:lnTo>
                    <a:pt x="252784" y="505577"/>
                  </a:lnTo>
                  <a:cubicBezTo>
                    <a:pt x="113166" y="505577"/>
                    <a:pt x="-10" y="392397"/>
                    <a:pt x="-10" y="252784"/>
                  </a:cubicBezTo>
                  <a:cubicBezTo>
                    <a:pt x="-10" y="113170"/>
                    <a:pt x="113166" y="-10"/>
                    <a:pt x="252784" y="-10"/>
                  </a:cubicBezTo>
                  <a:lnTo>
                    <a:pt x="1628575" y="-10"/>
                  </a:lnTo>
                  <a:cubicBezTo>
                    <a:pt x="1768192" y="-10"/>
                    <a:pt x="1881368" y="113170"/>
                    <a:pt x="1881368" y="252784"/>
                  </a:cubicBezTo>
                  <a:cubicBezTo>
                    <a:pt x="1881368" y="392397"/>
                    <a:pt x="1768192" y="505577"/>
                    <a:pt x="1628575" y="505577"/>
                  </a:cubicBezTo>
                  <a:close/>
                  <a:moveTo>
                    <a:pt x="252784" y="85429"/>
                  </a:moveTo>
                  <a:cubicBezTo>
                    <a:pt x="160353" y="85429"/>
                    <a:pt x="85429" y="160357"/>
                    <a:pt x="85429" y="252784"/>
                  </a:cubicBezTo>
                  <a:cubicBezTo>
                    <a:pt x="85429" y="345210"/>
                    <a:pt x="160353" y="420138"/>
                    <a:pt x="252784" y="420138"/>
                  </a:cubicBezTo>
                  <a:lnTo>
                    <a:pt x="1628575" y="420138"/>
                  </a:lnTo>
                  <a:cubicBezTo>
                    <a:pt x="1721006" y="420138"/>
                    <a:pt x="1795929" y="345210"/>
                    <a:pt x="1795929" y="252784"/>
                  </a:cubicBezTo>
                  <a:cubicBezTo>
                    <a:pt x="1795929" y="160357"/>
                    <a:pt x="1721006" y="85429"/>
                    <a:pt x="1628575" y="85429"/>
                  </a:cubicBez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accent1"/>
                </a:solidFill>
              </a:endParaRPr>
            </a:p>
          </p:txBody>
        </p:sp>
        <p:sp>
          <p:nvSpPr>
            <p:cNvPr id="17" name="Freeform 12">
              <a:extLst>
                <a:ext uri="{FF2B5EF4-FFF2-40B4-BE49-F238E27FC236}">
                  <a16:creationId xmlns:a16="http://schemas.microsoft.com/office/drawing/2014/main" id="{F1058FFC-FA96-EB78-6C8B-94B4F11565C8}"/>
                </a:ext>
              </a:extLst>
            </p:cNvPr>
            <p:cNvSpPr/>
            <p:nvPr/>
          </p:nvSpPr>
          <p:spPr bwMode="gray">
            <a:xfrm>
              <a:off x="5905662" y="2116579"/>
              <a:ext cx="150742" cy="150742"/>
            </a:xfrm>
            <a:custGeom>
              <a:avLst/>
              <a:gdLst>
                <a:gd name="connsiteX0" fmla="*/ 56188 w 112394"/>
                <a:gd name="connsiteY0" fmla="*/ 112385 h 112394"/>
                <a:gd name="connsiteX1" fmla="*/ 56188 w 112394"/>
                <a:gd name="connsiteY1" fmla="*/ 112385 h 112394"/>
                <a:gd name="connsiteX2" fmla="*/ -10 w 112394"/>
                <a:gd name="connsiteY2" fmla="*/ 56188 h 112394"/>
                <a:gd name="connsiteX3" fmla="*/ -10 w 112394"/>
                <a:gd name="connsiteY3" fmla="*/ 56188 h 112394"/>
                <a:gd name="connsiteX4" fmla="*/ 56188 w 112394"/>
                <a:gd name="connsiteY4" fmla="*/ -10 h 112394"/>
                <a:gd name="connsiteX5" fmla="*/ 56188 w 112394"/>
                <a:gd name="connsiteY5" fmla="*/ -10 h 112394"/>
                <a:gd name="connsiteX6" fmla="*/ 112385 w 112394"/>
                <a:gd name="connsiteY6" fmla="*/ 56188 h 112394"/>
                <a:gd name="connsiteX7" fmla="*/ 112385 w 112394"/>
                <a:gd name="connsiteY7" fmla="*/ 56188 h 112394"/>
                <a:gd name="connsiteX8" fmla="*/ 56188 w 112394"/>
                <a:gd name="connsiteY8" fmla="*/ 112385 h 1123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2394" h="112394">
                  <a:moveTo>
                    <a:pt x="56188" y="112385"/>
                  </a:moveTo>
                  <a:lnTo>
                    <a:pt x="56188" y="112385"/>
                  </a:lnTo>
                  <a:cubicBezTo>
                    <a:pt x="25193" y="112280"/>
                    <a:pt x="95" y="87181"/>
                    <a:pt x="-10" y="56188"/>
                  </a:cubicBezTo>
                  <a:lnTo>
                    <a:pt x="-10" y="56188"/>
                  </a:lnTo>
                  <a:cubicBezTo>
                    <a:pt x="95" y="25194"/>
                    <a:pt x="25193" y="95"/>
                    <a:pt x="56188" y="-10"/>
                  </a:cubicBezTo>
                  <a:lnTo>
                    <a:pt x="56188" y="-10"/>
                  </a:lnTo>
                  <a:cubicBezTo>
                    <a:pt x="87182" y="95"/>
                    <a:pt x="112280" y="25194"/>
                    <a:pt x="112385" y="56188"/>
                  </a:cubicBezTo>
                  <a:lnTo>
                    <a:pt x="112385" y="56188"/>
                  </a:lnTo>
                  <a:cubicBezTo>
                    <a:pt x="112280" y="87181"/>
                    <a:pt x="87182" y="112280"/>
                    <a:pt x="56188" y="112385"/>
                  </a:cubicBez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accent1"/>
                </a:solidFill>
              </a:endParaRPr>
            </a:p>
          </p:txBody>
        </p:sp>
        <p:sp>
          <p:nvSpPr>
            <p:cNvPr id="18" name="Freeform 13">
              <a:extLst>
                <a:ext uri="{FF2B5EF4-FFF2-40B4-BE49-F238E27FC236}">
                  <a16:creationId xmlns:a16="http://schemas.microsoft.com/office/drawing/2014/main" id="{5E07F676-F9B3-FE5E-4101-AC0045F97361}"/>
                </a:ext>
              </a:extLst>
            </p:cNvPr>
            <p:cNvSpPr/>
            <p:nvPr/>
          </p:nvSpPr>
          <p:spPr bwMode="gray">
            <a:xfrm>
              <a:off x="6171252" y="2116579"/>
              <a:ext cx="150615" cy="150742"/>
            </a:xfrm>
            <a:custGeom>
              <a:avLst/>
              <a:gdLst>
                <a:gd name="connsiteX0" fmla="*/ 56188 w 112299"/>
                <a:gd name="connsiteY0" fmla="*/ 112385 h 112394"/>
                <a:gd name="connsiteX1" fmla="*/ 56188 w 112299"/>
                <a:gd name="connsiteY1" fmla="*/ 112385 h 112394"/>
                <a:gd name="connsiteX2" fmla="*/ -10 w 112299"/>
                <a:gd name="connsiteY2" fmla="*/ 56188 h 112394"/>
                <a:gd name="connsiteX3" fmla="*/ -10 w 112299"/>
                <a:gd name="connsiteY3" fmla="*/ 56188 h 112394"/>
                <a:gd name="connsiteX4" fmla="*/ 56188 w 112299"/>
                <a:gd name="connsiteY4" fmla="*/ -10 h 112394"/>
                <a:gd name="connsiteX5" fmla="*/ 56188 w 112299"/>
                <a:gd name="connsiteY5" fmla="*/ -10 h 112394"/>
                <a:gd name="connsiteX6" fmla="*/ 112290 w 112299"/>
                <a:gd name="connsiteY6" fmla="*/ 56188 h 112394"/>
                <a:gd name="connsiteX7" fmla="*/ 112290 w 112299"/>
                <a:gd name="connsiteY7" fmla="*/ 56188 h 112394"/>
                <a:gd name="connsiteX8" fmla="*/ 56188 w 112299"/>
                <a:gd name="connsiteY8" fmla="*/ 112385 h 1123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2299" h="112394">
                  <a:moveTo>
                    <a:pt x="56188" y="112385"/>
                  </a:moveTo>
                  <a:lnTo>
                    <a:pt x="56188" y="112385"/>
                  </a:lnTo>
                  <a:cubicBezTo>
                    <a:pt x="25193" y="112280"/>
                    <a:pt x="95" y="87181"/>
                    <a:pt x="-10" y="56188"/>
                  </a:cubicBezTo>
                  <a:lnTo>
                    <a:pt x="-10" y="56188"/>
                  </a:lnTo>
                  <a:cubicBezTo>
                    <a:pt x="95" y="25194"/>
                    <a:pt x="25193" y="95"/>
                    <a:pt x="56188" y="-10"/>
                  </a:cubicBezTo>
                  <a:lnTo>
                    <a:pt x="56188" y="-10"/>
                  </a:lnTo>
                  <a:cubicBezTo>
                    <a:pt x="87144" y="147"/>
                    <a:pt x="112185" y="25231"/>
                    <a:pt x="112290" y="56188"/>
                  </a:cubicBezTo>
                  <a:lnTo>
                    <a:pt x="112290" y="56188"/>
                  </a:lnTo>
                  <a:cubicBezTo>
                    <a:pt x="112185" y="87144"/>
                    <a:pt x="87144" y="112228"/>
                    <a:pt x="56188" y="112385"/>
                  </a:cubicBez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accent1"/>
                </a:solidFill>
              </a:endParaRPr>
            </a:p>
          </p:txBody>
        </p:sp>
      </p:grpSp>
      <p:sp>
        <p:nvSpPr>
          <p:cNvPr id="19" name="Freeform 14">
            <a:extLst>
              <a:ext uri="{FF2B5EF4-FFF2-40B4-BE49-F238E27FC236}">
                <a16:creationId xmlns:a16="http://schemas.microsoft.com/office/drawing/2014/main" id="{E7E6199B-3483-3982-E472-7EADA796288F}"/>
              </a:ext>
            </a:extLst>
          </p:cNvPr>
          <p:cNvSpPr/>
          <p:nvPr/>
        </p:nvSpPr>
        <p:spPr bwMode="gray">
          <a:xfrm>
            <a:off x="8317575" y="1368425"/>
            <a:ext cx="3322750" cy="4459991"/>
          </a:xfrm>
          <a:custGeom>
            <a:avLst/>
            <a:gdLst>
              <a:gd name="connsiteX0" fmla="*/ 2243318 w 2477452"/>
              <a:gd name="connsiteY0" fmla="*/ 3013605 h 3013615"/>
              <a:gd name="connsiteX1" fmla="*/ 233543 w 2477452"/>
              <a:gd name="connsiteY1" fmla="*/ 3013605 h 3013615"/>
              <a:gd name="connsiteX2" fmla="*/ -10 w 2477452"/>
              <a:gd name="connsiteY2" fmla="*/ 2780052 h 3013615"/>
              <a:gd name="connsiteX3" fmla="*/ -10 w 2477452"/>
              <a:gd name="connsiteY3" fmla="*/ 233543 h 3013615"/>
              <a:gd name="connsiteX4" fmla="*/ 233543 w 2477452"/>
              <a:gd name="connsiteY4" fmla="*/ -10 h 3013615"/>
              <a:gd name="connsiteX5" fmla="*/ 2243318 w 2477452"/>
              <a:gd name="connsiteY5" fmla="*/ -10 h 3013615"/>
              <a:gd name="connsiteX6" fmla="*/ 2477443 w 2477452"/>
              <a:gd name="connsiteY6" fmla="*/ 233543 h 3013615"/>
              <a:gd name="connsiteX7" fmla="*/ 2477443 w 2477452"/>
              <a:gd name="connsiteY7" fmla="*/ 2780052 h 3013615"/>
              <a:gd name="connsiteX8" fmla="*/ 2243318 w 2477452"/>
              <a:gd name="connsiteY8" fmla="*/ 3013605 h 3013615"/>
              <a:gd name="connsiteX9" fmla="*/ 233543 w 2477452"/>
              <a:gd name="connsiteY9" fmla="*/ 42758 h 3013615"/>
              <a:gd name="connsiteX10" fmla="*/ 43043 w 2477452"/>
              <a:gd name="connsiteY10" fmla="*/ 233258 h 3013615"/>
              <a:gd name="connsiteX11" fmla="*/ 43043 w 2477452"/>
              <a:gd name="connsiteY11" fmla="*/ 2780052 h 3013615"/>
              <a:gd name="connsiteX12" fmla="*/ 233543 w 2477452"/>
              <a:gd name="connsiteY12" fmla="*/ 2970552 h 3013615"/>
              <a:gd name="connsiteX13" fmla="*/ 2243318 w 2477452"/>
              <a:gd name="connsiteY13" fmla="*/ 2970552 h 3013615"/>
              <a:gd name="connsiteX14" fmla="*/ 2433818 w 2477452"/>
              <a:gd name="connsiteY14" fmla="*/ 2780052 h 3013615"/>
              <a:gd name="connsiteX15" fmla="*/ 2433818 w 2477452"/>
              <a:gd name="connsiteY15" fmla="*/ 233543 h 3013615"/>
              <a:gd name="connsiteX16" fmla="*/ 2243318 w 2477452"/>
              <a:gd name="connsiteY16" fmla="*/ 43043 h 30136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2477452" h="3013615">
                <a:moveTo>
                  <a:pt x="2243318" y="3013605"/>
                </a:moveTo>
                <a:lnTo>
                  <a:pt x="233543" y="3013605"/>
                </a:lnTo>
                <a:cubicBezTo>
                  <a:pt x="104622" y="3013443"/>
                  <a:pt x="152" y="2908973"/>
                  <a:pt x="-10" y="2780052"/>
                </a:cubicBezTo>
                <a:lnTo>
                  <a:pt x="-10" y="233543"/>
                </a:lnTo>
                <a:cubicBezTo>
                  <a:pt x="152" y="104621"/>
                  <a:pt x="104622" y="148"/>
                  <a:pt x="233543" y="-10"/>
                </a:cubicBezTo>
                <a:lnTo>
                  <a:pt x="2243318" y="-10"/>
                </a:lnTo>
                <a:cubicBezTo>
                  <a:pt x="2372468" y="-168"/>
                  <a:pt x="2477280" y="104398"/>
                  <a:pt x="2477443" y="233543"/>
                </a:cubicBezTo>
                <a:lnTo>
                  <a:pt x="2477443" y="2780052"/>
                </a:lnTo>
                <a:cubicBezTo>
                  <a:pt x="2477280" y="2909202"/>
                  <a:pt x="2372468" y="3013767"/>
                  <a:pt x="2243318" y="3013605"/>
                </a:cubicBezTo>
                <a:close/>
                <a:moveTo>
                  <a:pt x="233543" y="42758"/>
                </a:moveTo>
                <a:cubicBezTo>
                  <a:pt x="128444" y="43020"/>
                  <a:pt x="43300" y="128156"/>
                  <a:pt x="43043" y="233258"/>
                </a:cubicBezTo>
                <a:lnTo>
                  <a:pt x="43043" y="2780052"/>
                </a:lnTo>
                <a:cubicBezTo>
                  <a:pt x="43357" y="2885132"/>
                  <a:pt x="128463" y="2970238"/>
                  <a:pt x="233543" y="2970552"/>
                </a:cubicBezTo>
                <a:lnTo>
                  <a:pt x="2243318" y="2970552"/>
                </a:lnTo>
                <a:cubicBezTo>
                  <a:pt x="2348398" y="2970238"/>
                  <a:pt x="2433504" y="2885132"/>
                  <a:pt x="2433818" y="2780052"/>
                </a:cubicBezTo>
                <a:lnTo>
                  <a:pt x="2433818" y="233543"/>
                </a:lnTo>
                <a:cubicBezTo>
                  <a:pt x="2433561" y="128442"/>
                  <a:pt x="2348417" y="43305"/>
                  <a:pt x="2243318" y="43043"/>
                </a:cubicBezTo>
                <a:close/>
              </a:path>
            </a:pathLst>
          </a:custGeom>
          <a:solidFill>
            <a:schemeClr val="tx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>
              <a:solidFill>
                <a:schemeClr val="accent1"/>
              </a:solidFill>
            </a:endParaRPr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F70925E1-FD50-BF93-0003-90A699558176}"/>
              </a:ext>
            </a:extLst>
          </p:cNvPr>
          <p:cNvGrpSpPr/>
          <p:nvPr/>
        </p:nvGrpSpPr>
        <p:grpSpPr>
          <a:xfrm>
            <a:off x="8716918" y="989540"/>
            <a:ext cx="2523425" cy="678090"/>
            <a:chOff x="8716905" y="1857375"/>
            <a:chExt cx="2523425" cy="678090"/>
          </a:xfrm>
        </p:grpSpPr>
        <p:sp>
          <p:nvSpPr>
            <p:cNvPr id="21" name="Rounded Rectangle 15">
              <a:extLst>
                <a:ext uri="{FF2B5EF4-FFF2-40B4-BE49-F238E27FC236}">
                  <a16:creationId xmlns:a16="http://schemas.microsoft.com/office/drawing/2014/main" id="{309BD05D-7168-183A-70D6-1BE2787D083D}"/>
                </a:ext>
              </a:extLst>
            </p:cNvPr>
            <p:cNvSpPr/>
            <p:nvPr/>
          </p:nvSpPr>
          <p:spPr bwMode="gray">
            <a:xfrm>
              <a:off x="8774136" y="1914735"/>
              <a:ext cx="2408834" cy="563500"/>
            </a:xfrm>
            <a:prstGeom prst="roundRect">
              <a:avLst>
                <a:gd name="adj" fmla="val 50000"/>
              </a:avLst>
            </a:prstGeom>
            <a:solidFill>
              <a:srgbClr val="0046B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accent1"/>
                </a:solidFill>
              </a:endParaRPr>
            </a:p>
          </p:txBody>
        </p:sp>
        <p:sp>
          <p:nvSpPr>
            <p:cNvPr id="22" name="Freeform 16">
              <a:extLst>
                <a:ext uri="{FF2B5EF4-FFF2-40B4-BE49-F238E27FC236}">
                  <a16:creationId xmlns:a16="http://schemas.microsoft.com/office/drawing/2014/main" id="{8E43A823-141B-F03F-0CA7-3192A1190A0E}"/>
                </a:ext>
              </a:extLst>
            </p:cNvPr>
            <p:cNvSpPr/>
            <p:nvPr/>
          </p:nvSpPr>
          <p:spPr bwMode="gray">
            <a:xfrm>
              <a:off x="8716905" y="1857375"/>
              <a:ext cx="2523425" cy="678090"/>
            </a:xfrm>
            <a:custGeom>
              <a:avLst/>
              <a:gdLst>
                <a:gd name="connsiteX0" fmla="*/ 1628670 w 1881473"/>
                <a:gd name="connsiteY0" fmla="*/ 505577 h 505586"/>
                <a:gd name="connsiteX1" fmla="*/ 252784 w 1881473"/>
                <a:gd name="connsiteY1" fmla="*/ 505577 h 505586"/>
                <a:gd name="connsiteX2" fmla="*/ -10 w 1881473"/>
                <a:gd name="connsiteY2" fmla="*/ 252784 h 505586"/>
                <a:gd name="connsiteX3" fmla="*/ 252784 w 1881473"/>
                <a:gd name="connsiteY3" fmla="*/ -10 h 505586"/>
                <a:gd name="connsiteX4" fmla="*/ 1628670 w 1881473"/>
                <a:gd name="connsiteY4" fmla="*/ -10 h 505586"/>
                <a:gd name="connsiteX5" fmla="*/ 1881464 w 1881473"/>
                <a:gd name="connsiteY5" fmla="*/ 252784 h 505586"/>
                <a:gd name="connsiteX6" fmla="*/ 1628670 w 1881473"/>
                <a:gd name="connsiteY6" fmla="*/ 505577 h 505586"/>
                <a:gd name="connsiteX7" fmla="*/ 252784 w 1881473"/>
                <a:gd name="connsiteY7" fmla="*/ 85429 h 505586"/>
                <a:gd name="connsiteX8" fmla="*/ 85430 w 1881473"/>
                <a:gd name="connsiteY8" fmla="*/ 252784 h 505586"/>
                <a:gd name="connsiteX9" fmla="*/ 252784 w 1881473"/>
                <a:gd name="connsiteY9" fmla="*/ 420138 h 505586"/>
                <a:gd name="connsiteX10" fmla="*/ 1628670 w 1881473"/>
                <a:gd name="connsiteY10" fmla="*/ 420138 h 505586"/>
                <a:gd name="connsiteX11" fmla="*/ 1796024 w 1881473"/>
                <a:gd name="connsiteY11" fmla="*/ 252784 h 505586"/>
                <a:gd name="connsiteX12" fmla="*/ 1628670 w 1881473"/>
                <a:gd name="connsiteY12" fmla="*/ 85429 h 5055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881473" h="505586">
                  <a:moveTo>
                    <a:pt x="1628670" y="505577"/>
                  </a:moveTo>
                  <a:lnTo>
                    <a:pt x="252784" y="505577"/>
                  </a:lnTo>
                  <a:cubicBezTo>
                    <a:pt x="113166" y="505577"/>
                    <a:pt x="-10" y="392397"/>
                    <a:pt x="-10" y="252784"/>
                  </a:cubicBezTo>
                  <a:cubicBezTo>
                    <a:pt x="-10" y="113170"/>
                    <a:pt x="113166" y="-10"/>
                    <a:pt x="252784" y="-10"/>
                  </a:cubicBezTo>
                  <a:lnTo>
                    <a:pt x="1628670" y="-10"/>
                  </a:lnTo>
                  <a:cubicBezTo>
                    <a:pt x="1768288" y="-10"/>
                    <a:pt x="1881464" y="113170"/>
                    <a:pt x="1881464" y="252784"/>
                  </a:cubicBezTo>
                  <a:cubicBezTo>
                    <a:pt x="1881464" y="392397"/>
                    <a:pt x="1768288" y="505577"/>
                    <a:pt x="1628670" y="505577"/>
                  </a:cubicBezTo>
                  <a:close/>
                  <a:moveTo>
                    <a:pt x="252784" y="85429"/>
                  </a:moveTo>
                  <a:cubicBezTo>
                    <a:pt x="160353" y="85429"/>
                    <a:pt x="85430" y="160357"/>
                    <a:pt x="85430" y="252784"/>
                  </a:cubicBezTo>
                  <a:cubicBezTo>
                    <a:pt x="85430" y="345210"/>
                    <a:pt x="160353" y="420138"/>
                    <a:pt x="252784" y="420138"/>
                  </a:cubicBezTo>
                  <a:lnTo>
                    <a:pt x="1628670" y="420138"/>
                  </a:lnTo>
                  <a:cubicBezTo>
                    <a:pt x="1721101" y="420138"/>
                    <a:pt x="1796024" y="345210"/>
                    <a:pt x="1796024" y="252784"/>
                  </a:cubicBezTo>
                  <a:cubicBezTo>
                    <a:pt x="1796024" y="160357"/>
                    <a:pt x="1721101" y="85429"/>
                    <a:pt x="1628670" y="85429"/>
                  </a:cubicBez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accent1"/>
                </a:solidFill>
              </a:endParaRPr>
            </a:p>
          </p:txBody>
        </p:sp>
        <p:sp>
          <p:nvSpPr>
            <p:cNvPr id="23" name="Freeform 17">
              <a:extLst>
                <a:ext uri="{FF2B5EF4-FFF2-40B4-BE49-F238E27FC236}">
                  <a16:creationId xmlns:a16="http://schemas.microsoft.com/office/drawing/2014/main" id="{221280BA-60BC-3CA6-53F6-C4A10476B4B7}"/>
                </a:ext>
              </a:extLst>
            </p:cNvPr>
            <p:cNvSpPr/>
            <p:nvPr/>
          </p:nvSpPr>
          <p:spPr bwMode="gray">
            <a:xfrm>
              <a:off x="9637975" y="2121049"/>
              <a:ext cx="150742" cy="150615"/>
            </a:xfrm>
            <a:custGeom>
              <a:avLst/>
              <a:gdLst>
                <a:gd name="connsiteX0" fmla="*/ 56187 w 112394"/>
                <a:gd name="connsiteY0" fmla="*/ 112290 h 112299"/>
                <a:gd name="connsiteX1" fmla="*/ 56187 w 112394"/>
                <a:gd name="connsiteY1" fmla="*/ 112290 h 112299"/>
                <a:gd name="connsiteX2" fmla="*/ -10 w 112394"/>
                <a:gd name="connsiteY2" fmla="*/ 56188 h 112299"/>
                <a:gd name="connsiteX3" fmla="*/ -10 w 112394"/>
                <a:gd name="connsiteY3" fmla="*/ 56188 h 112299"/>
                <a:gd name="connsiteX4" fmla="*/ 56187 w 112394"/>
                <a:gd name="connsiteY4" fmla="*/ -10 h 112299"/>
                <a:gd name="connsiteX5" fmla="*/ 56187 w 112394"/>
                <a:gd name="connsiteY5" fmla="*/ -10 h 112299"/>
                <a:gd name="connsiteX6" fmla="*/ 112385 w 112394"/>
                <a:gd name="connsiteY6" fmla="*/ 56188 h 112299"/>
                <a:gd name="connsiteX7" fmla="*/ 112385 w 112394"/>
                <a:gd name="connsiteY7" fmla="*/ 56188 h 112299"/>
                <a:gd name="connsiteX8" fmla="*/ 56187 w 112394"/>
                <a:gd name="connsiteY8" fmla="*/ 112290 h 1122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2394" h="112299">
                  <a:moveTo>
                    <a:pt x="56187" y="112290"/>
                  </a:moveTo>
                  <a:lnTo>
                    <a:pt x="56187" y="112290"/>
                  </a:lnTo>
                  <a:cubicBezTo>
                    <a:pt x="25231" y="112186"/>
                    <a:pt x="143" y="87144"/>
                    <a:pt x="-10" y="56188"/>
                  </a:cubicBezTo>
                  <a:lnTo>
                    <a:pt x="-10" y="56188"/>
                  </a:lnTo>
                  <a:cubicBezTo>
                    <a:pt x="95" y="25194"/>
                    <a:pt x="25193" y="95"/>
                    <a:pt x="56187" y="-10"/>
                  </a:cubicBezTo>
                  <a:lnTo>
                    <a:pt x="56187" y="-10"/>
                  </a:lnTo>
                  <a:cubicBezTo>
                    <a:pt x="87201" y="43"/>
                    <a:pt x="112328" y="25172"/>
                    <a:pt x="112385" y="56188"/>
                  </a:cubicBezTo>
                  <a:lnTo>
                    <a:pt x="112385" y="56188"/>
                  </a:lnTo>
                  <a:cubicBezTo>
                    <a:pt x="112280" y="87166"/>
                    <a:pt x="87163" y="112238"/>
                    <a:pt x="56187" y="112290"/>
                  </a:cubicBez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accent1"/>
                </a:solidFill>
              </a:endParaRPr>
            </a:p>
          </p:txBody>
        </p:sp>
        <p:sp>
          <p:nvSpPr>
            <p:cNvPr id="24" name="Freeform 18">
              <a:extLst>
                <a:ext uri="{FF2B5EF4-FFF2-40B4-BE49-F238E27FC236}">
                  <a16:creationId xmlns:a16="http://schemas.microsoft.com/office/drawing/2014/main" id="{12D27D42-340A-0BE0-5A72-9E8E95398E6E}"/>
                </a:ext>
              </a:extLst>
            </p:cNvPr>
            <p:cNvSpPr/>
            <p:nvPr/>
          </p:nvSpPr>
          <p:spPr bwMode="gray">
            <a:xfrm>
              <a:off x="9903310" y="2121049"/>
              <a:ext cx="150615" cy="150615"/>
            </a:xfrm>
            <a:custGeom>
              <a:avLst/>
              <a:gdLst>
                <a:gd name="connsiteX0" fmla="*/ 56187 w 112299"/>
                <a:gd name="connsiteY0" fmla="*/ 112290 h 112299"/>
                <a:gd name="connsiteX1" fmla="*/ 56187 w 112299"/>
                <a:gd name="connsiteY1" fmla="*/ 112290 h 112299"/>
                <a:gd name="connsiteX2" fmla="*/ -10 w 112299"/>
                <a:gd name="connsiteY2" fmla="*/ 56188 h 112299"/>
                <a:gd name="connsiteX3" fmla="*/ -10 w 112299"/>
                <a:gd name="connsiteY3" fmla="*/ 56188 h 112299"/>
                <a:gd name="connsiteX4" fmla="*/ 56187 w 112299"/>
                <a:gd name="connsiteY4" fmla="*/ -10 h 112299"/>
                <a:gd name="connsiteX5" fmla="*/ 56187 w 112299"/>
                <a:gd name="connsiteY5" fmla="*/ -10 h 112299"/>
                <a:gd name="connsiteX6" fmla="*/ 112290 w 112299"/>
                <a:gd name="connsiteY6" fmla="*/ 56188 h 112299"/>
                <a:gd name="connsiteX7" fmla="*/ 112290 w 112299"/>
                <a:gd name="connsiteY7" fmla="*/ 56188 h 112299"/>
                <a:gd name="connsiteX8" fmla="*/ 56187 w 112299"/>
                <a:gd name="connsiteY8" fmla="*/ 112290 h 1122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2299" h="112299">
                  <a:moveTo>
                    <a:pt x="56187" y="112290"/>
                  </a:moveTo>
                  <a:lnTo>
                    <a:pt x="56187" y="112290"/>
                  </a:lnTo>
                  <a:cubicBezTo>
                    <a:pt x="25212" y="112238"/>
                    <a:pt x="95" y="87166"/>
                    <a:pt x="-10" y="56188"/>
                  </a:cubicBezTo>
                  <a:lnTo>
                    <a:pt x="-10" y="56188"/>
                  </a:lnTo>
                  <a:cubicBezTo>
                    <a:pt x="47" y="25172"/>
                    <a:pt x="25174" y="43"/>
                    <a:pt x="56187" y="-10"/>
                  </a:cubicBezTo>
                  <a:lnTo>
                    <a:pt x="56187" y="-10"/>
                  </a:lnTo>
                  <a:cubicBezTo>
                    <a:pt x="87163" y="95"/>
                    <a:pt x="112242" y="25210"/>
                    <a:pt x="112290" y="56188"/>
                  </a:cubicBezTo>
                  <a:lnTo>
                    <a:pt x="112290" y="56188"/>
                  </a:lnTo>
                  <a:cubicBezTo>
                    <a:pt x="112185" y="87129"/>
                    <a:pt x="87124" y="112185"/>
                    <a:pt x="56187" y="112290"/>
                  </a:cubicBez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accent1"/>
                </a:solidFill>
              </a:endParaRPr>
            </a:p>
          </p:txBody>
        </p:sp>
        <p:sp>
          <p:nvSpPr>
            <p:cNvPr id="25" name="Freeform 19">
              <a:extLst>
                <a:ext uri="{FF2B5EF4-FFF2-40B4-BE49-F238E27FC236}">
                  <a16:creationId xmlns:a16="http://schemas.microsoft.com/office/drawing/2014/main" id="{BA333701-87AE-E2F6-00D7-63878D8A0C7B}"/>
                </a:ext>
              </a:extLst>
            </p:cNvPr>
            <p:cNvSpPr/>
            <p:nvPr/>
          </p:nvSpPr>
          <p:spPr bwMode="gray">
            <a:xfrm>
              <a:off x="10168517" y="2121049"/>
              <a:ext cx="150744" cy="150615"/>
            </a:xfrm>
            <a:custGeom>
              <a:avLst/>
              <a:gdLst>
                <a:gd name="connsiteX0" fmla="*/ 56188 w 112395"/>
                <a:gd name="connsiteY0" fmla="*/ 112290 h 112299"/>
                <a:gd name="connsiteX1" fmla="*/ 56188 w 112395"/>
                <a:gd name="connsiteY1" fmla="*/ 112290 h 112299"/>
                <a:gd name="connsiteX2" fmla="*/ -10 w 112395"/>
                <a:gd name="connsiteY2" fmla="*/ 56188 h 112299"/>
                <a:gd name="connsiteX3" fmla="*/ -10 w 112395"/>
                <a:gd name="connsiteY3" fmla="*/ 56188 h 112299"/>
                <a:gd name="connsiteX4" fmla="*/ 56188 w 112395"/>
                <a:gd name="connsiteY4" fmla="*/ -10 h 112299"/>
                <a:gd name="connsiteX5" fmla="*/ 56188 w 112395"/>
                <a:gd name="connsiteY5" fmla="*/ -10 h 112299"/>
                <a:gd name="connsiteX6" fmla="*/ 112386 w 112395"/>
                <a:gd name="connsiteY6" fmla="*/ 56188 h 112299"/>
                <a:gd name="connsiteX7" fmla="*/ 112386 w 112395"/>
                <a:gd name="connsiteY7" fmla="*/ 56188 h 112299"/>
                <a:gd name="connsiteX8" fmla="*/ 56188 w 112395"/>
                <a:gd name="connsiteY8" fmla="*/ 112290 h 1122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2395" h="112299">
                  <a:moveTo>
                    <a:pt x="56188" y="112290"/>
                  </a:moveTo>
                  <a:lnTo>
                    <a:pt x="56188" y="112290"/>
                  </a:lnTo>
                  <a:cubicBezTo>
                    <a:pt x="25232" y="112186"/>
                    <a:pt x="143" y="87144"/>
                    <a:pt x="-10" y="56188"/>
                  </a:cubicBezTo>
                  <a:lnTo>
                    <a:pt x="-10" y="56188"/>
                  </a:lnTo>
                  <a:cubicBezTo>
                    <a:pt x="95" y="25194"/>
                    <a:pt x="25193" y="95"/>
                    <a:pt x="56188" y="-10"/>
                  </a:cubicBezTo>
                  <a:lnTo>
                    <a:pt x="56188" y="-10"/>
                  </a:lnTo>
                  <a:cubicBezTo>
                    <a:pt x="87182" y="95"/>
                    <a:pt x="112280" y="25194"/>
                    <a:pt x="112386" y="56188"/>
                  </a:cubicBezTo>
                  <a:lnTo>
                    <a:pt x="112386" y="56188"/>
                  </a:lnTo>
                  <a:cubicBezTo>
                    <a:pt x="112233" y="87144"/>
                    <a:pt x="87144" y="112186"/>
                    <a:pt x="56188" y="112290"/>
                  </a:cubicBez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accent1"/>
                </a:solidFill>
              </a:endParaRPr>
            </a:p>
          </p:txBody>
        </p:sp>
      </p:grpSp>
      <p:sp>
        <p:nvSpPr>
          <p:cNvPr id="26" name="Rectangle 25">
            <a:extLst>
              <a:ext uri="{FF2B5EF4-FFF2-40B4-BE49-F238E27FC236}">
                <a16:creationId xmlns:a16="http://schemas.microsoft.com/office/drawing/2014/main" id="{820C0556-9E82-2D21-4543-C425F1EF3826}"/>
              </a:ext>
            </a:extLst>
          </p:cNvPr>
          <p:cNvSpPr/>
          <p:nvPr/>
        </p:nvSpPr>
        <p:spPr bwMode="auto">
          <a:xfrm>
            <a:off x="8443583" y="2422583"/>
            <a:ext cx="3118552" cy="3036729"/>
          </a:xfrm>
          <a:prstGeom prst="rect">
            <a:avLst/>
          </a:prstGeom>
          <a:noFill/>
          <a:ln w="12700" cap="flat" cmpd="sng" algn="ctr">
            <a:noFill/>
            <a:prstDash val="solid"/>
            <a:round/>
            <a:headEnd type="none" w="med" len="med"/>
            <a:tailEnd type="none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b="1">
                <a:solidFill>
                  <a:schemeClr val="tx2"/>
                </a:solidFill>
                <a:latin typeface="Arial" panose="020B0604020202020204" pitchFamily="34" charset="0"/>
              </a:rPr>
              <a:t>Modelling process</a:t>
            </a:r>
          </a:p>
          <a:p>
            <a:pPr marL="203200" lvl="1" indent="-203200">
              <a:spcBef>
                <a:spcPts val="400"/>
              </a:spcBef>
              <a:buClr>
                <a:schemeClr val="tx2"/>
              </a:buClr>
              <a:buSzPct val="100000"/>
              <a:buFont typeface="Wingdings" pitchFamily="2" charset="2"/>
              <a:buChar char="§"/>
              <a:defRPr/>
            </a:pPr>
            <a:r>
              <a:rPr lang="en-US" sz="1600">
                <a:latin typeface="Arial" panose="020B0604020202020204" pitchFamily="34" charset="0"/>
              </a:rPr>
              <a:t>Various models were evaluated:</a:t>
            </a:r>
          </a:p>
          <a:p>
            <a:pPr marL="400050" lvl="2" indent="-161925">
              <a:buClr>
                <a:schemeClr val="tx2"/>
              </a:buClr>
              <a:buSzPct val="100000"/>
              <a:buFont typeface="Wingdings" pitchFamily="2" charset="2"/>
              <a:buChar char="§"/>
              <a:defRPr/>
            </a:pPr>
            <a:r>
              <a:rPr lang="en-US" sz="1600" b="1" err="1">
                <a:latin typeface="Arial" panose="020B0604020202020204" pitchFamily="34" charset="0"/>
              </a:rPr>
              <a:t>Croston’s</a:t>
            </a:r>
            <a:r>
              <a:rPr lang="en-US" sz="1600">
                <a:latin typeface="Arial" panose="020B0604020202020204" pitchFamily="34" charset="0"/>
              </a:rPr>
              <a:t> time series</a:t>
            </a:r>
          </a:p>
          <a:p>
            <a:pPr marL="400050" lvl="2" indent="-161925">
              <a:buClr>
                <a:schemeClr val="tx2"/>
              </a:buClr>
              <a:buSzPct val="100000"/>
              <a:buFont typeface="Wingdings" pitchFamily="2" charset="2"/>
              <a:buChar char="§"/>
              <a:defRPr/>
            </a:pPr>
            <a:r>
              <a:rPr lang="en-GB" sz="1600">
                <a:latin typeface="Arial" panose="020B0604020202020204" pitchFamily="34" charset="0"/>
              </a:rPr>
              <a:t>Extreme Gradient Boosting (</a:t>
            </a:r>
            <a:r>
              <a:rPr lang="en-GB" sz="1600" b="1">
                <a:latin typeface="Arial" panose="020B0604020202020204" pitchFamily="34" charset="0"/>
              </a:rPr>
              <a:t>XGBoost</a:t>
            </a:r>
            <a:r>
              <a:rPr lang="en-GB" sz="1600">
                <a:latin typeface="Arial" panose="020B0604020202020204" pitchFamily="34" charset="0"/>
              </a:rPr>
              <a:t>)</a:t>
            </a:r>
          </a:p>
          <a:p>
            <a:pPr marL="400050" lvl="2" indent="-161925">
              <a:buClr>
                <a:schemeClr val="tx2"/>
              </a:buClr>
              <a:buSzPct val="100000"/>
              <a:buFont typeface="Wingdings" pitchFamily="2" charset="2"/>
              <a:buChar char="§"/>
              <a:defRPr/>
            </a:pPr>
            <a:r>
              <a:rPr lang="en-GB" sz="1600">
                <a:latin typeface="Arial" panose="020B0604020202020204" pitchFamily="34" charset="0"/>
              </a:rPr>
              <a:t>Light Gradient Boosting (</a:t>
            </a:r>
            <a:r>
              <a:rPr lang="en-GB" sz="1600" b="1">
                <a:latin typeface="Arial" panose="020B0604020202020204" pitchFamily="34" charset="0"/>
              </a:rPr>
              <a:t>LightGBM</a:t>
            </a:r>
            <a:r>
              <a:rPr lang="en-GB" sz="1600">
                <a:latin typeface="Arial" panose="020B0604020202020204" pitchFamily="34" charset="0"/>
              </a:rPr>
              <a:t>)</a:t>
            </a:r>
          </a:p>
          <a:p>
            <a:pPr marL="203200" lvl="1" indent="-203200">
              <a:buClr>
                <a:schemeClr val="tx2"/>
              </a:buClr>
              <a:buSzPct val="100000"/>
              <a:buFont typeface="Wingdings" pitchFamily="2" charset="2"/>
              <a:buChar char="§"/>
              <a:defRPr/>
            </a:pPr>
            <a:r>
              <a:rPr lang="en-GB" sz="1600" b="1">
                <a:latin typeface="Arial" panose="020B0604020202020204" pitchFamily="34" charset="0"/>
              </a:rPr>
              <a:t>Monotonicity</a:t>
            </a:r>
            <a:r>
              <a:rPr lang="en-GB" sz="1600">
                <a:latin typeface="Arial" panose="020B0604020202020204" pitchFamily="34" charset="0"/>
              </a:rPr>
              <a:t> inputs </a:t>
            </a:r>
            <a:r>
              <a:rPr lang="en-GB" sz="1600" b="1">
                <a:latin typeface="Arial" panose="020B0604020202020204" pitchFamily="34" charset="0"/>
              </a:rPr>
              <a:t>didn’t improve </a:t>
            </a:r>
            <a:r>
              <a:rPr lang="en-GB" sz="1600">
                <a:latin typeface="Arial" panose="020B0604020202020204" pitchFamily="34" charset="0"/>
              </a:rPr>
              <a:t>the performance</a:t>
            </a:r>
          </a:p>
          <a:p>
            <a:pPr marL="203200" lvl="1" indent="-203200">
              <a:buClr>
                <a:schemeClr val="tx2"/>
              </a:buClr>
              <a:buSzPct val="100000"/>
              <a:buFont typeface="Wingdings" pitchFamily="2" charset="2"/>
              <a:buChar char="§"/>
              <a:defRPr/>
            </a:pPr>
            <a:r>
              <a:rPr lang="en-GB" sz="1600">
                <a:latin typeface="Arial" panose="020B0604020202020204" pitchFamily="34" charset="0"/>
              </a:rPr>
              <a:t>Insights were generated using SHAP* and feature importance plots</a:t>
            </a:r>
            <a:endParaRPr lang="en-US" sz="1600">
              <a:latin typeface="Arial" panose="020B0604020202020204" pitchFamily="34" charset="0"/>
            </a:endParaRP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1C3FD927-D059-509A-2D2B-E0C80F1AAC2D}"/>
              </a:ext>
            </a:extLst>
          </p:cNvPr>
          <p:cNvSpPr/>
          <p:nvPr/>
        </p:nvSpPr>
        <p:spPr bwMode="auto">
          <a:xfrm>
            <a:off x="674914" y="2422583"/>
            <a:ext cx="3118552" cy="2349361"/>
          </a:xfrm>
          <a:prstGeom prst="rect">
            <a:avLst/>
          </a:prstGeom>
          <a:noFill/>
          <a:ln w="12700" cap="flat" cmpd="sng" algn="ctr">
            <a:noFill/>
            <a:prstDash val="solid"/>
            <a:round/>
            <a:headEnd type="none" w="med" len="med"/>
            <a:tailEnd type="none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b="1">
                <a:solidFill>
                  <a:schemeClr val="tx2"/>
                </a:solidFill>
                <a:latin typeface="Arial" panose="020B0604020202020204" pitchFamily="34" charset="0"/>
              </a:rPr>
              <a:t>Feature engineering</a:t>
            </a:r>
          </a:p>
          <a:p>
            <a:pPr marL="203200" lvl="1" indent="-203200">
              <a:spcBef>
                <a:spcPts val="400"/>
              </a:spcBef>
              <a:buClr>
                <a:schemeClr val="tx2"/>
              </a:buClr>
              <a:buSzPct val="100000"/>
              <a:buFont typeface="Wingdings" pitchFamily="2" charset="2"/>
              <a:buChar char="§"/>
              <a:defRPr/>
            </a:pPr>
            <a:r>
              <a:rPr lang="en-US" sz="1600">
                <a:latin typeface="Arial" panose="020B0604020202020204" pitchFamily="34" charset="0"/>
              </a:rPr>
              <a:t>A combination </a:t>
            </a:r>
            <a:r>
              <a:rPr lang="en-US" sz="1600" b="1">
                <a:latin typeface="Arial" panose="020B0604020202020204" pitchFamily="34" charset="0"/>
              </a:rPr>
              <a:t>of internal and external features </a:t>
            </a:r>
            <a:r>
              <a:rPr lang="en-US" sz="1600">
                <a:latin typeface="Arial" panose="020B0604020202020204" pitchFamily="34" charset="0"/>
              </a:rPr>
              <a:t>capturing lag variables and market trends were used for modelling</a:t>
            </a:r>
          </a:p>
          <a:p>
            <a:pPr marL="203200" lvl="1" indent="-203200">
              <a:spcBef>
                <a:spcPts val="400"/>
              </a:spcBef>
              <a:buClr>
                <a:schemeClr val="tx2"/>
              </a:buClr>
              <a:buSzPct val="100000"/>
              <a:buFont typeface="Wingdings" pitchFamily="2" charset="2"/>
              <a:buChar char="§"/>
              <a:defRPr/>
            </a:pPr>
            <a:r>
              <a:rPr lang="en-US" sz="1600">
                <a:latin typeface="Arial" panose="020B0604020202020204" pitchFamily="34" charset="0"/>
              </a:rPr>
              <a:t>Different lag periods were used to capture </a:t>
            </a:r>
            <a:r>
              <a:rPr lang="en-US" sz="1600" b="1">
                <a:latin typeface="Arial" panose="020B0604020202020204" pitchFamily="34" charset="0"/>
              </a:rPr>
              <a:t>different seasonality patterns </a:t>
            </a:r>
            <a:r>
              <a:rPr lang="en-US" sz="1600">
                <a:latin typeface="Arial" panose="020B0604020202020204" pitchFamily="34" charset="0"/>
              </a:rPr>
              <a:t>observed during the EDA process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55DEE725-9FE3-D608-0A96-F30B8E8E4A59}"/>
              </a:ext>
            </a:extLst>
          </p:cNvPr>
          <p:cNvSpPr/>
          <p:nvPr/>
        </p:nvSpPr>
        <p:spPr bwMode="auto">
          <a:xfrm>
            <a:off x="4559121" y="2422583"/>
            <a:ext cx="3118552" cy="2672526"/>
          </a:xfrm>
          <a:prstGeom prst="rect">
            <a:avLst/>
          </a:prstGeom>
          <a:noFill/>
          <a:ln w="12700" cap="flat" cmpd="sng" algn="ctr">
            <a:noFill/>
            <a:prstDash val="solid"/>
            <a:round/>
            <a:headEnd type="none" w="med" len="med"/>
            <a:tailEnd type="none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b="1">
                <a:solidFill>
                  <a:schemeClr val="tx2"/>
                </a:solidFill>
                <a:latin typeface="Arial" panose="020B0604020202020204" pitchFamily="34" charset="0"/>
              </a:rPr>
              <a:t>Feature selection</a:t>
            </a:r>
          </a:p>
          <a:p>
            <a:pPr marL="203200" lvl="1" indent="-203200">
              <a:spcBef>
                <a:spcPts val="400"/>
              </a:spcBef>
              <a:buClr>
                <a:schemeClr val="tx2"/>
              </a:buClr>
              <a:buSzPct val="100000"/>
              <a:buFont typeface="Wingdings" pitchFamily="2" charset="2"/>
              <a:buChar char="§"/>
              <a:defRPr/>
            </a:pPr>
            <a:r>
              <a:rPr lang="en-US" sz="1600">
                <a:latin typeface="Arial" panose="020B0604020202020204" pitchFamily="34" charset="0"/>
              </a:rPr>
              <a:t>Various </a:t>
            </a:r>
            <a:r>
              <a:rPr lang="en-US" sz="1600" b="1">
                <a:latin typeface="Arial" panose="020B0604020202020204" pitchFamily="34" charset="0"/>
              </a:rPr>
              <a:t>stepwise feature </a:t>
            </a:r>
            <a:r>
              <a:rPr lang="en-US" sz="1600">
                <a:latin typeface="Arial" panose="020B0604020202020204" pitchFamily="34" charset="0"/>
              </a:rPr>
              <a:t>selection methods were used to explore the optimum combination of features</a:t>
            </a:r>
          </a:p>
          <a:p>
            <a:pPr marL="203200" lvl="1" indent="-203200">
              <a:spcBef>
                <a:spcPts val="400"/>
              </a:spcBef>
              <a:buClr>
                <a:schemeClr val="tx2"/>
              </a:buClr>
              <a:buSzPct val="100000"/>
              <a:buFont typeface="Wingdings" pitchFamily="2" charset="2"/>
              <a:buChar char="§"/>
              <a:defRPr/>
            </a:pPr>
            <a:r>
              <a:rPr lang="en-US" sz="1600" b="1">
                <a:latin typeface="Arial" panose="020B0604020202020204" pitchFamily="34" charset="0"/>
              </a:rPr>
              <a:t>L1 regularization </a:t>
            </a:r>
            <a:r>
              <a:rPr lang="en-US" sz="1600">
                <a:latin typeface="Arial" panose="020B0604020202020204" pitchFamily="34" charset="0"/>
              </a:rPr>
              <a:t>was also used in the </a:t>
            </a:r>
            <a:r>
              <a:rPr lang="en-US" sz="1600" err="1">
                <a:latin typeface="Arial" panose="020B0604020202020204" pitchFamily="34" charset="0"/>
              </a:rPr>
              <a:t>LightGBM</a:t>
            </a:r>
            <a:r>
              <a:rPr lang="en-US" sz="1600">
                <a:latin typeface="Arial" panose="020B0604020202020204" pitchFamily="34" charset="0"/>
              </a:rPr>
              <a:t> regression method to select features further</a:t>
            </a:r>
          </a:p>
          <a:p>
            <a:pPr marL="285750" indent="-285750">
              <a:spcBef>
                <a:spcPts val="600"/>
              </a:spcBef>
              <a:spcAft>
                <a:spcPts val="0"/>
              </a:spcAft>
              <a:buFont typeface="Wingdings" panose="05000000000000000000" pitchFamily="2" charset="2"/>
              <a:buChar char="ü"/>
              <a:defRPr/>
            </a:pPr>
            <a:endParaRPr lang="en-US" sz="1600">
              <a:latin typeface="Arial" panose="020B0604020202020204" pitchFamily="34" charset="0"/>
            </a:endParaRP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3E67883C-080F-AE1F-E520-496CB951B8A4}"/>
              </a:ext>
            </a:extLst>
          </p:cNvPr>
          <p:cNvSpPr txBox="1"/>
          <p:nvPr/>
        </p:nvSpPr>
        <p:spPr>
          <a:xfrm>
            <a:off x="773026" y="6345123"/>
            <a:ext cx="1109450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sz="1000"/>
              <a:t>*SHAP (</a:t>
            </a:r>
            <a:r>
              <a:rPr lang="en-US" sz="1000" err="1"/>
              <a:t>SHapley</a:t>
            </a:r>
            <a:r>
              <a:rPr lang="en-US" sz="1000"/>
              <a:t> Additive </a:t>
            </a:r>
            <a:r>
              <a:rPr lang="en-US" sz="1000" err="1"/>
              <a:t>exPlanations</a:t>
            </a:r>
            <a:r>
              <a:rPr lang="en-US" sz="1000"/>
              <a:t>) is a method used to explain the predictions of machine learning models. It assigns a "score" or "importance" to each feature (or input variable) of the model</a:t>
            </a:r>
            <a:endParaRPr lang="en-GB" sz="1000"/>
          </a:p>
        </p:txBody>
      </p:sp>
      <p:pic>
        <p:nvPicPr>
          <p:cNvPr id="58" name="Picture 57" descr="Shape&#10;&#10;Description automatically generated with low confidence">
            <a:extLst>
              <a:ext uri="{FF2B5EF4-FFF2-40B4-BE49-F238E27FC236}">
                <a16:creationId xmlns:a16="http://schemas.microsoft.com/office/drawing/2014/main" id="{5AFE4CB0-A0BC-8DCB-77C3-132B624D4166}"/>
              </a:ext>
            </a:extLst>
          </p:cNvPr>
          <p:cNvPicPr>
            <a:picLocks noChangeAspect="1"/>
          </p:cNvPicPr>
          <p:nvPr/>
        </p:nvPicPr>
        <p:blipFill>
          <a:blip r:embed="rId5">
            <a:duotone>
              <a:schemeClr val="accent2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1656891" y="1448658"/>
            <a:ext cx="1121338" cy="1121338"/>
          </a:xfrm>
          <a:prstGeom prst="rect">
            <a:avLst/>
          </a:prstGeom>
        </p:spPr>
      </p:pic>
      <p:pic>
        <p:nvPicPr>
          <p:cNvPr id="60" name="Picture 59" descr="Shape&#10;&#10;Description automatically generated with low confidence">
            <a:extLst>
              <a:ext uri="{FF2B5EF4-FFF2-40B4-BE49-F238E27FC236}">
                <a16:creationId xmlns:a16="http://schemas.microsoft.com/office/drawing/2014/main" id="{2460A9F0-4043-DD22-C729-6DD71BC4F0A8}"/>
              </a:ext>
            </a:extLst>
          </p:cNvPr>
          <p:cNvPicPr>
            <a:picLocks noChangeAspect="1"/>
          </p:cNvPicPr>
          <p:nvPr/>
        </p:nvPicPr>
        <p:blipFill>
          <a:blip r:embed="rId6">
            <a:duotone>
              <a:schemeClr val="accent2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5479264" y="1361746"/>
            <a:ext cx="1233471" cy="1233471"/>
          </a:xfrm>
          <a:prstGeom prst="rect">
            <a:avLst/>
          </a:prstGeom>
        </p:spPr>
      </p:pic>
      <p:pic>
        <p:nvPicPr>
          <p:cNvPr id="62" name="Picture 61" descr="Shape&#10;&#10;Description automatically generated with low confidence">
            <a:extLst>
              <a:ext uri="{FF2B5EF4-FFF2-40B4-BE49-F238E27FC236}">
                <a16:creationId xmlns:a16="http://schemas.microsoft.com/office/drawing/2014/main" id="{D6600E77-A0DB-CB20-E728-E6610DA1AE06}"/>
              </a:ext>
            </a:extLst>
          </p:cNvPr>
          <p:cNvPicPr>
            <a:picLocks noChangeAspect="1"/>
          </p:cNvPicPr>
          <p:nvPr/>
        </p:nvPicPr>
        <p:blipFill>
          <a:blip r:embed="rId7">
            <a:duotone>
              <a:schemeClr val="accent2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9457505" y="1436783"/>
            <a:ext cx="1042122" cy="10421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9537993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F3F434E7-74BA-087F-1BD5-FE832AA1E59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21677706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F3F434E7-74BA-087F-1BD5-FE832AA1E59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0FCA8915-49F5-B0A7-3E79-B63CE49D514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sz="2800" dirty="0"/>
              <a:t>Using </a:t>
            </a:r>
            <a:r>
              <a:rPr lang="en-US" sz="2800" dirty="0" err="1"/>
              <a:t>LightGBM</a:t>
            </a:r>
            <a:r>
              <a:rPr lang="en-US" sz="2800" dirty="0"/>
              <a:t>, our model took &lt;3 seconds and returned an RMSE of 3.39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F7F7694-9F2E-418D-9BB3-EE5CEB834DC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8C09DA5-8C43-4702-8900-F4900F7A89AE}" type="slidenum">
              <a:rPr lang="en-US" smtClean="0"/>
              <a:pPr/>
              <a:t>6</a:t>
            </a:fld>
            <a:endParaRPr lang="en-US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6A047E8C-A273-5F9A-E1E5-02AF9B75C7F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 vert="horz" lIns="0" tIns="0" rIns="0" bIns="0" rtlCol="0" anchor="t">
            <a:normAutofit/>
          </a:bodyPr>
          <a:lstStyle/>
          <a:p>
            <a:pPr marL="0" indent="0">
              <a:buNone/>
            </a:pPr>
            <a:r>
              <a:rPr lang="en-US" sz="2400" b="1" dirty="0"/>
              <a:t>Primary model: </a:t>
            </a:r>
            <a:r>
              <a:rPr lang="en-US" sz="2400" b="1" dirty="0" err="1"/>
              <a:t>LightGBM</a:t>
            </a:r>
            <a:endParaRPr lang="en-US" sz="2400" b="1" dirty="0"/>
          </a:p>
          <a:p>
            <a:pPr marL="254000" lvl="1" indent="-254000">
              <a:buClr>
                <a:schemeClr val="tx2"/>
              </a:buClr>
              <a:buSzPct val="100000"/>
              <a:buFont typeface="Wingdings" pitchFamily="2" charset="2"/>
              <a:buChar char="§"/>
            </a:pPr>
            <a:r>
              <a:rPr lang="en-US" sz="2000" dirty="0"/>
              <a:t>Description: </a:t>
            </a:r>
            <a:r>
              <a:rPr lang="en-US" sz="2000" b="1" dirty="0" err="1"/>
              <a:t>LightGBM</a:t>
            </a:r>
            <a:r>
              <a:rPr lang="en-US" sz="2000" b="1" dirty="0"/>
              <a:t> modelling with lag-based features</a:t>
            </a:r>
          </a:p>
          <a:p>
            <a:pPr marL="254000" lvl="1" indent="-254000">
              <a:buClr>
                <a:schemeClr val="tx2"/>
              </a:buClr>
              <a:buSzPct val="100000"/>
              <a:buFont typeface="Wingdings" pitchFamily="2" charset="2"/>
              <a:buChar char="§"/>
            </a:pPr>
            <a:r>
              <a:rPr lang="en-US" sz="2000" dirty="0"/>
              <a:t>Runtime to predict on the validation dataset: 3 seconds</a:t>
            </a:r>
          </a:p>
          <a:p>
            <a:pPr marL="254000" lvl="1" indent="-254000">
              <a:buClr>
                <a:schemeClr val="tx2"/>
              </a:buClr>
              <a:buSzPct val="100000"/>
              <a:buFont typeface="Wingdings" pitchFamily="2" charset="2"/>
              <a:buChar char="§"/>
            </a:pPr>
            <a:r>
              <a:rPr lang="en-US" sz="2000" dirty="0"/>
              <a:t>RMSE value on the validation dataset: 3.39</a:t>
            </a:r>
            <a:endParaRPr lang="en-US" sz="2000" dirty="0">
              <a:highlight>
                <a:srgbClr val="FFFF00"/>
              </a:highlight>
            </a:endParaRPr>
          </a:p>
          <a:p>
            <a:pPr marL="0" indent="0">
              <a:buNone/>
            </a:pPr>
            <a:r>
              <a:rPr lang="en-US" sz="2400" b="1" dirty="0"/>
              <a:t>Secondary model: Time Series</a:t>
            </a:r>
          </a:p>
          <a:p>
            <a:pPr marL="254000" lvl="1" indent="-254000">
              <a:buClr>
                <a:schemeClr val="tx2"/>
              </a:buClr>
              <a:buSzPct val="100000"/>
              <a:buFont typeface="Wingdings" pitchFamily="2" charset="2"/>
              <a:buChar char="§"/>
            </a:pPr>
            <a:r>
              <a:rPr lang="en-US" sz="2000" dirty="0"/>
              <a:t>Description: </a:t>
            </a:r>
            <a:r>
              <a:rPr lang="en-US" sz="2000" b="1" dirty="0"/>
              <a:t>Time series modelling </a:t>
            </a:r>
            <a:r>
              <a:rPr lang="en-US" sz="2000" dirty="0"/>
              <a:t>(Croston’s method)</a:t>
            </a:r>
          </a:p>
          <a:p>
            <a:pPr marL="254000" lvl="1" indent="-254000">
              <a:buClr>
                <a:schemeClr val="tx2"/>
              </a:buClr>
              <a:buSzPct val="100000"/>
              <a:buFont typeface="Wingdings" pitchFamily="2" charset="2"/>
              <a:buChar char="§"/>
            </a:pPr>
            <a:r>
              <a:rPr lang="en-US" sz="2000" dirty="0"/>
              <a:t>Runtime to predict on the validation dataset: 40 seconds</a:t>
            </a:r>
          </a:p>
          <a:p>
            <a:pPr marL="254000" lvl="1" indent="-254000">
              <a:buClr>
                <a:schemeClr val="tx2"/>
              </a:buClr>
              <a:buSzPct val="100000"/>
              <a:buFont typeface="Wingdings" pitchFamily="2" charset="2"/>
              <a:buChar char="§"/>
            </a:pPr>
            <a:r>
              <a:rPr lang="en-US" sz="2000" dirty="0"/>
              <a:t>RMSE value on the validation dataset: 5.92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52EC7B1C-8392-BFC6-3F74-D652D29909A8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t="9987" b="10149"/>
          <a:stretch/>
        </p:blipFill>
        <p:spPr>
          <a:xfrm>
            <a:off x="7985425" y="3461350"/>
            <a:ext cx="3251200" cy="2596551"/>
          </a:xfrm>
          <a:prstGeom prst="rect">
            <a:avLst/>
          </a:prstGeom>
        </p:spPr>
      </p:pic>
      <p:sp>
        <p:nvSpPr>
          <p:cNvPr id="9" name="Arrow: Curved Right 8">
            <a:extLst>
              <a:ext uri="{FF2B5EF4-FFF2-40B4-BE49-F238E27FC236}">
                <a16:creationId xmlns:a16="http://schemas.microsoft.com/office/drawing/2014/main" id="{4A4BCD15-1AC9-CD50-2CBF-F0964769FDC7}"/>
              </a:ext>
            </a:extLst>
          </p:cNvPr>
          <p:cNvSpPr/>
          <p:nvPr/>
        </p:nvSpPr>
        <p:spPr>
          <a:xfrm rot="10800000">
            <a:off x="6687150" y="2163073"/>
            <a:ext cx="1144517" cy="2596551"/>
          </a:xfrm>
          <a:prstGeom prst="curvedRightArrow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  <p:sp>
        <p:nvSpPr>
          <p:cNvPr id="10" name="Speech Bubble: Rectangle with Corners Rounded 9">
            <a:extLst>
              <a:ext uri="{FF2B5EF4-FFF2-40B4-BE49-F238E27FC236}">
                <a16:creationId xmlns:a16="http://schemas.microsoft.com/office/drawing/2014/main" id="{0D0DD4F2-B790-C038-1518-86691EB90D90}"/>
              </a:ext>
            </a:extLst>
          </p:cNvPr>
          <p:cNvSpPr/>
          <p:nvPr/>
        </p:nvSpPr>
        <p:spPr>
          <a:xfrm>
            <a:off x="8058750" y="1718733"/>
            <a:ext cx="3049517" cy="1222735"/>
          </a:xfrm>
          <a:prstGeom prst="wedgeRoundRectCallout">
            <a:avLst>
              <a:gd name="adj1" fmla="val -58870"/>
              <a:gd name="adj2" fmla="val 32897"/>
              <a:gd name="adj3" fmla="val 16667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>
                <a:solidFill>
                  <a:schemeClr val="bg1"/>
                </a:solidFill>
              </a:rPr>
              <a:t>Significant lift in baseline performance with near 0 runtime!</a:t>
            </a:r>
            <a:endParaRPr lang="en-GB" b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3695795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F3F434E7-74BA-087F-1BD5-FE832AA1E59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91963165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F3F434E7-74BA-087F-1BD5-FE832AA1E59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0FCA8915-49F5-B0A7-3E79-B63CE49D514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sz="2800"/>
              <a:t>Best Buy can plug our strong model directly into their forecasting process 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F7F7694-9F2E-418D-9BB3-EE5CEB834DC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8C09DA5-8C43-4702-8900-F4900F7A89AE}" type="slidenum">
              <a:rPr lang="en-US" smtClean="0"/>
              <a:pPr/>
              <a:t>7</a:t>
            </a:fld>
            <a:endParaRPr lang="en-US"/>
          </a:p>
        </p:txBody>
      </p:sp>
      <p:sp>
        <p:nvSpPr>
          <p:cNvPr id="6" name="Body copy 3">
            <a:extLst>
              <a:ext uri="{FF2B5EF4-FFF2-40B4-BE49-F238E27FC236}">
                <a16:creationId xmlns:a16="http://schemas.microsoft.com/office/drawing/2014/main" id="{1381CC33-AC0E-E872-6009-D1145E7F5860}"/>
              </a:ext>
            </a:extLst>
          </p:cNvPr>
          <p:cNvSpPr txBox="1">
            <a:spLocks/>
          </p:cNvSpPr>
          <p:nvPr/>
        </p:nvSpPr>
        <p:spPr bwMode="auto">
          <a:xfrm>
            <a:off x="8256702" y="2192886"/>
            <a:ext cx="3328416" cy="3949799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marL="0" indent="0" defTabSz="914400" eaLnBrk="1" latinLnBrk="0" hangingPunct="1">
              <a:lnSpc>
                <a:spcPct val="100000"/>
              </a:lnSpc>
              <a:spcBef>
                <a:spcPts val="15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>
                <a:latin typeface="+mn-lt"/>
              </a:defRPr>
            </a:lvl1pPr>
            <a:lvl2pPr marL="228600" indent="-228600" algn="l" defTabSz="91440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tx1"/>
              </a:buClr>
              <a:buFont typeface="Wingdings 2" panose="05020102010507070707" pitchFamily="18" charset="2"/>
              <a:buChar char=""/>
              <a:defRPr sz="1800">
                <a:latin typeface="+mn-lt"/>
              </a:defRPr>
            </a:lvl2pPr>
            <a:lvl3pPr marL="457200" indent="-228600" algn="l" defTabSz="91440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–"/>
              <a:defRPr sz="1800">
                <a:latin typeface="+mn-lt"/>
              </a:defRPr>
            </a:lvl3pPr>
            <a:lvl4pPr marL="1600200" indent="-228600" algn="l" defTabSz="91440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>
                <a:latin typeface="+mn-lt"/>
              </a:defRPr>
            </a:lvl4pPr>
            <a:lvl5pPr marL="2057400" indent="-228600" algn="l" defTabSz="91440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>
                <a:latin typeface="+mn-lt"/>
              </a:defRPr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>
                <a:latin typeface="+mn-lt"/>
              </a:defRPr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>
                <a:latin typeface="+mn-lt"/>
              </a:defRPr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>
                <a:latin typeface="+mn-lt"/>
              </a:defRPr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>
                <a:latin typeface="+mn-lt"/>
              </a:defRPr>
            </a:lvl9pPr>
          </a:lstStyle>
          <a:p>
            <a:pPr marL="190500" lvl="1" indent="-190500" fontAlgn="base">
              <a:spcBef>
                <a:spcPts val="400"/>
              </a:spcBef>
              <a:buClr>
                <a:schemeClr val="tx2"/>
              </a:buClr>
              <a:buSzPct val="100000"/>
              <a:buFont typeface="Wingdings" pitchFamily="2" charset="2"/>
              <a:buChar char="§"/>
            </a:pPr>
            <a:r>
              <a:rPr lang="en-US" sz="1600">
                <a:solidFill>
                  <a:srgbClr val="1A1628"/>
                </a:solidFill>
                <a:cs typeface="Arial" panose="020B0604020202020204" pitchFamily="34" charset="0"/>
              </a:rPr>
              <a:t>The entire model pipeline is </a:t>
            </a:r>
            <a:r>
              <a:rPr lang="en-US" sz="1600" b="1">
                <a:solidFill>
                  <a:srgbClr val="1A1628"/>
                </a:solidFill>
                <a:cs typeface="Arial" panose="020B0604020202020204" pitchFamily="34" charset="0"/>
              </a:rPr>
              <a:t>Python based </a:t>
            </a:r>
            <a:r>
              <a:rPr lang="en-US" sz="1600">
                <a:solidFill>
                  <a:srgbClr val="1A1628"/>
                </a:solidFill>
                <a:cs typeface="Arial" panose="020B0604020202020204" pitchFamily="34" charset="0"/>
              </a:rPr>
              <a:t>&amp; can </a:t>
            </a:r>
            <a:r>
              <a:rPr lang="en-US" sz="1600" b="1">
                <a:solidFill>
                  <a:srgbClr val="1A1628"/>
                </a:solidFill>
                <a:cs typeface="Arial" panose="020B0604020202020204" pitchFamily="34" charset="0"/>
              </a:rPr>
              <a:t>easily be implemented in </a:t>
            </a:r>
            <a:r>
              <a:rPr lang="en-US" sz="1600">
                <a:solidFill>
                  <a:srgbClr val="1A1628"/>
                </a:solidFill>
                <a:cs typeface="Arial" panose="020B0604020202020204" pitchFamily="34" charset="0"/>
              </a:rPr>
              <a:t>any system</a:t>
            </a:r>
          </a:p>
          <a:p>
            <a:pPr marL="190500" lvl="1" indent="-190500" fontAlgn="base">
              <a:spcBef>
                <a:spcPts val="400"/>
              </a:spcBef>
              <a:buClr>
                <a:schemeClr val="tx2"/>
              </a:buClr>
              <a:buSzPct val="100000"/>
              <a:buFont typeface="Wingdings" pitchFamily="2" charset="2"/>
              <a:buChar char="§"/>
            </a:pPr>
            <a:r>
              <a:rPr lang="en-US" sz="1600">
                <a:solidFill>
                  <a:srgbClr val="1A1628"/>
                </a:solidFill>
                <a:cs typeface="Arial" panose="020B0604020202020204" pitchFamily="34" charset="0"/>
              </a:rPr>
              <a:t>For </a:t>
            </a:r>
            <a:r>
              <a:rPr lang="en-US" sz="1600" b="1">
                <a:solidFill>
                  <a:srgbClr val="1A1628"/>
                </a:solidFill>
                <a:cs typeface="Arial" panose="020B0604020202020204" pitchFamily="34" charset="0"/>
              </a:rPr>
              <a:t>model lifecycle management</a:t>
            </a:r>
            <a:r>
              <a:rPr lang="en-US" sz="1600">
                <a:solidFill>
                  <a:srgbClr val="1A1628"/>
                </a:solidFill>
                <a:cs typeface="Arial" panose="020B0604020202020204" pitchFamily="34" charset="0"/>
              </a:rPr>
              <a:t>, we recommend constantly updating data and collecting user feedback</a:t>
            </a:r>
          </a:p>
          <a:p>
            <a:pPr marL="190500" lvl="1" indent="-190500" fontAlgn="base">
              <a:spcBef>
                <a:spcPts val="400"/>
              </a:spcBef>
              <a:buClr>
                <a:schemeClr val="tx2"/>
              </a:buClr>
              <a:buSzPct val="100000"/>
              <a:buFont typeface="Wingdings" pitchFamily="2" charset="2"/>
              <a:buChar char="§"/>
            </a:pPr>
            <a:r>
              <a:rPr lang="en-US" sz="1600">
                <a:solidFill>
                  <a:srgbClr val="1A1628"/>
                </a:solidFill>
                <a:cs typeface="Arial" panose="020B0604020202020204" pitchFamily="34" charset="0"/>
              </a:rPr>
              <a:t>To </a:t>
            </a:r>
            <a:r>
              <a:rPr lang="en-US" sz="1600" b="1">
                <a:solidFill>
                  <a:srgbClr val="1A1628"/>
                </a:solidFill>
                <a:cs typeface="Arial" panose="020B0604020202020204" pitchFamily="34" charset="0"/>
              </a:rPr>
              <a:t>improve our modelling process</a:t>
            </a:r>
          </a:p>
          <a:p>
            <a:pPr marL="419100" lvl="2" indent="-190500" fontAlgn="base">
              <a:spcBef>
                <a:spcPts val="400"/>
              </a:spcBef>
              <a:buClr>
                <a:schemeClr val="tx2"/>
              </a:buClr>
              <a:buSzPct val="100000"/>
              <a:buFont typeface="Wingdings" pitchFamily="2" charset="2"/>
              <a:buChar char="§"/>
            </a:pPr>
            <a:r>
              <a:rPr lang="en-US" sz="1600" b="1">
                <a:solidFill>
                  <a:srgbClr val="1A1628"/>
                </a:solidFill>
                <a:cs typeface="Arial" panose="020B0604020202020204" pitchFamily="34" charset="0"/>
              </a:rPr>
              <a:t>Combine other internal data sources </a:t>
            </a:r>
            <a:r>
              <a:rPr lang="en-US" sz="1600">
                <a:solidFill>
                  <a:srgbClr val="1A1628"/>
                </a:solidFill>
                <a:cs typeface="Arial" panose="020B0604020202020204" pitchFamily="34" charset="0"/>
              </a:rPr>
              <a:t>such as location, source of sales (offline vs. online), etc.</a:t>
            </a:r>
          </a:p>
          <a:p>
            <a:pPr marL="419100" lvl="2" indent="-190500" fontAlgn="base">
              <a:spcBef>
                <a:spcPts val="400"/>
              </a:spcBef>
              <a:buClr>
                <a:schemeClr val="tx2"/>
              </a:buClr>
              <a:buSzPct val="100000"/>
              <a:buFont typeface="Wingdings" pitchFamily="2" charset="2"/>
              <a:buChar char="§"/>
            </a:pPr>
            <a:r>
              <a:rPr lang="en-US" sz="1600">
                <a:solidFill>
                  <a:srgbClr val="1A1628"/>
                </a:solidFill>
                <a:cs typeface="Arial" panose="020B0604020202020204" pitchFamily="34" charset="0"/>
              </a:rPr>
              <a:t>Explore </a:t>
            </a:r>
            <a:r>
              <a:rPr lang="en-US" sz="1600" b="1">
                <a:solidFill>
                  <a:srgbClr val="1A1628"/>
                </a:solidFill>
                <a:cs typeface="Arial" panose="020B0604020202020204" pitchFamily="34" charset="0"/>
              </a:rPr>
              <a:t>additional methods of feature selection</a:t>
            </a:r>
            <a:endParaRPr lang="en-US" sz="1600">
              <a:solidFill>
                <a:srgbClr val="1A1628"/>
              </a:solidFill>
              <a:highlight>
                <a:srgbClr val="FFFF00"/>
              </a:highlight>
              <a:cs typeface="Arial" panose="020B0604020202020204" pitchFamily="34" charset="0"/>
            </a:endParaRPr>
          </a:p>
          <a:p>
            <a:pPr marL="419100" lvl="2" indent="-190500" fontAlgn="base">
              <a:spcBef>
                <a:spcPts val="400"/>
              </a:spcBef>
              <a:buClr>
                <a:schemeClr val="tx2"/>
              </a:buClr>
              <a:buSzPct val="100000"/>
              <a:buFont typeface="Wingdings" pitchFamily="2" charset="2"/>
              <a:buChar char="§"/>
            </a:pPr>
            <a:r>
              <a:rPr lang="en-US" sz="1600">
                <a:solidFill>
                  <a:srgbClr val="1A1628"/>
                </a:solidFill>
                <a:cs typeface="Arial" panose="020B0604020202020204" pitchFamily="34" charset="0"/>
              </a:rPr>
              <a:t>Add models at a </a:t>
            </a:r>
            <a:r>
              <a:rPr lang="en-US" sz="1600" b="1">
                <a:solidFill>
                  <a:srgbClr val="1A1628"/>
                </a:solidFill>
                <a:cs typeface="Arial" panose="020B0604020202020204" pitchFamily="34" charset="0"/>
              </a:rPr>
              <a:t>more granular level</a:t>
            </a:r>
            <a:r>
              <a:rPr lang="en-US" sz="1600">
                <a:solidFill>
                  <a:srgbClr val="1A1628"/>
                </a:solidFill>
                <a:cs typeface="Arial" panose="020B0604020202020204" pitchFamily="34" charset="0"/>
              </a:rPr>
              <a:t>, such as Category or ML name instead of an overall model</a:t>
            </a:r>
          </a:p>
        </p:txBody>
      </p:sp>
      <p:grpSp>
        <p:nvGrpSpPr>
          <p:cNvPr id="7" name="H3">
            <a:extLst>
              <a:ext uri="{FF2B5EF4-FFF2-40B4-BE49-F238E27FC236}">
                <a16:creationId xmlns:a16="http://schemas.microsoft.com/office/drawing/2014/main" id="{D2D78F11-5A7B-705E-EA56-09F6E1FDF572}"/>
              </a:ext>
            </a:extLst>
          </p:cNvPr>
          <p:cNvGrpSpPr/>
          <p:nvPr/>
        </p:nvGrpSpPr>
        <p:grpSpPr bwMode="auto">
          <a:xfrm>
            <a:off x="8256702" y="1686662"/>
            <a:ext cx="3328416" cy="341632"/>
            <a:chOff x="6532258" y="2172968"/>
            <a:chExt cx="2423160" cy="341632"/>
          </a:xfrm>
        </p:grpSpPr>
        <p:cxnSp>
          <p:nvCxnSpPr>
            <p:cNvPr id="8" name="Heading underline 3">
              <a:extLst>
                <a:ext uri="{FF2B5EF4-FFF2-40B4-BE49-F238E27FC236}">
                  <a16:creationId xmlns:a16="http://schemas.microsoft.com/office/drawing/2014/main" id="{18BAC8F0-79D3-6A98-0C69-7AD0F1028D43}"/>
                </a:ext>
              </a:extLst>
            </p:cNvPr>
            <p:cNvCxnSpPr/>
            <p:nvPr/>
          </p:nvCxnSpPr>
          <p:spPr bwMode="auto">
            <a:xfrm>
              <a:off x="6532258" y="2514600"/>
              <a:ext cx="2423160" cy="0"/>
            </a:xfrm>
            <a:prstGeom prst="line">
              <a:avLst/>
            </a:prstGeom>
            <a:noFill/>
            <a:ln w="12700" cap="flat" cmpd="sng" algn="ctr">
              <a:solidFill>
                <a:srgbClr val="1A1628"/>
              </a:solidFill>
              <a:prstDash val="solid"/>
              <a:round/>
            </a:ln>
            <a:effectLst/>
          </p:spPr>
        </p:cxnSp>
        <p:sp>
          <p:nvSpPr>
            <p:cNvPr id="9" name="Heading 3">
              <a:extLst>
                <a:ext uri="{FF2B5EF4-FFF2-40B4-BE49-F238E27FC236}">
                  <a16:creationId xmlns:a16="http://schemas.microsoft.com/office/drawing/2014/main" id="{B16F16B9-761B-F307-D634-A4EAA8F3060C}"/>
                </a:ext>
              </a:extLst>
            </p:cNvPr>
            <p:cNvSpPr txBox="1">
              <a:spLocks/>
            </p:cNvSpPr>
            <p:nvPr/>
          </p:nvSpPr>
          <p:spPr bwMode="auto">
            <a:xfrm>
              <a:off x="6532258" y="2172968"/>
              <a:ext cx="2423160" cy="341632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vert="horz" lIns="0" tIns="0" rIns="0" bIns="64008" rtlCol="0" anchor="b">
              <a:spAutoFit/>
            </a:bodyPr>
            <a:lstStyle>
              <a:lvl1pPr marL="0" indent="0" defTabSz="91440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None/>
                <a:defRPr sz="2000" b="1">
                  <a:solidFill>
                    <a:schemeClr val="bg2"/>
                  </a:solidFill>
                  <a:latin typeface="+mn-lt"/>
                </a:defRPr>
              </a:lvl1pPr>
              <a:lvl2pPr marL="228600" indent="-228600" algn="l" defTabSz="914400" eaLnBrk="1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chemeClr val="tx1"/>
                </a:buClr>
                <a:buFont typeface="Wingdings 2" panose="05020102010507070707" pitchFamily="18" charset="2"/>
                <a:buChar char=""/>
                <a:defRPr sz="1800">
                  <a:latin typeface="+mn-lt"/>
                </a:defRPr>
              </a:lvl2pPr>
              <a:lvl3pPr marL="457200" indent="-228600" algn="l" defTabSz="914400" eaLnBrk="1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chemeClr val="tx1"/>
                </a:buClr>
                <a:buFont typeface="Arial" panose="020B0604020202020204" pitchFamily="34" charset="0"/>
                <a:buChar char="–"/>
                <a:defRPr sz="1800">
                  <a:latin typeface="+mn-lt"/>
                </a:defRPr>
              </a:lvl3pPr>
              <a:lvl4pPr marL="1600200" indent="-228600" algn="l" defTabSz="914400" eaLnBrk="1" latinLnBrk="0" hangingPunct="1">
                <a:lnSpc>
                  <a:spcPct val="10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>
                  <a:latin typeface="+mn-lt"/>
                </a:defRPr>
              </a:lvl4pPr>
              <a:lvl5pPr marL="2057400" indent="-228600" algn="l" defTabSz="914400" eaLnBrk="1" latinLnBrk="0" hangingPunct="1">
                <a:lnSpc>
                  <a:spcPct val="10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>
                  <a:latin typeface="+mn-lt"/>
                </a:defRPr>
              </a:lvl5pPr>
              <a:lvl6pPr marL="25146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>
                  <a:latin typeface="+mn-lt"/>
                </a:defRPr>
              </a:lvl6pPr>
              <a:lvl7pPr marL="29718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>
                  <a:latin typeface="+mn-lt"/>
                </a:defRPr>
              </a:lvl7pPr>
              <a:lvl8pPr marL="3429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>
                  <a:latin typeface="+mn-lt"/>
                </a:defRPr>
              </a:lvl8pPr>
              <a:lvl9pPr marL="3886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>
                  <a:latin typeface="+mn-lt"/>
                </a:defRPr>
              </a:lvl9pPr>
            </a:lstStyle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lang="en-US" sz="1800" kern="0">
                  <a:solidFill>
                    <a:schemeClr val="tx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Next steps</a:t>
              </a:r>
              <a:endParaRPr kumimoji="0" lang="en-US" sz="1800" b="1" i="0" u="none" strike="noStrike" kern="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10" name="Body copy 2">
            <a:extLst>
              <a:ext uri="{FF2B5EF4-FFF2-40B4-BE49-F238E27FC236}">
                <a16:creationId xmlns:a16="http://schemas.microsoft.com/office/drawing/2014/main" id="{4DBA6675-BDA7-9AFB-0030-134699EAB71E}"/>
              </a:ext>
            </a:extLst>
          </p:cNvPr>
          <p:cNvSpPr txBox="1">
            <a:spLocks/>
          </p:cNvSpPr>
          <p:nvPr/>
        </p:nvSpPr>
        <p:spPr bwMode="auto">
          <a:xfrm>
            <a:off x="4375074" y="2192886"/>
            <a:ext cx="3328416" cy="3703578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1500"/>
              </a:spcBef>
              <a:spcAft>
                <a:spcPts val="0"/>
              </a:spcAft>
              <a:buFont typeface="Arial" panose="020B0604020202020204" pitchFamily="34" charset="0"/>
              <a:buNone/>
            </a:lvl1pPr>
            <a:lvl2pPr marL="190500" lvl="1" indent="-190500" fontAlgn="base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1300">
                <a:solidFill>
                  <a:srgbClr val="1A1628"/>
                </a:solidFill>
                <a:cs typeface="Arial" panose="020B0604020202020204" pitchFamily="34" charset="0"/>
              </a:defRPr>
            </a:lvl2pPr>
            <a:lvl3pPr marL="419100" lvl="2" indent="-190500" fontAlgn="base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1300">
                <a:solidFill>
                  <a:srgbClr val="1A1628"/>
                </a:solidFill>
                <a:cs typeface="Arial" panose="020B0604020202020204" pitchFamily="34" charset="0"/>
              </a:defRPr>
            </a:lvl3pPr>
            <a:lvl4pPr marL="1600200" indent="-228600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indent="-228600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165100" lvl="1" indent="-165100">
              <a:buFont typeface="Wingdings" pitchFamily="2" charset="2"/>
              <a:buChar char="§"/>
            </a:pPr>
            <a:r>
              <a:rPr lang="en-US" sz="1600" b="1"/>
              <a:t>Leverage </a:t>
            </a:r>
            <a:r>
              <a:rPr lang="en-US" sz="1600" b="1" err="1"/>
              <a:t>LightGBM</a:t>
            </a:r>
            <a:r>
              <a:rPr lang="en-US" sz="1600" b="1"/>
              <a:t> </a:t>
            </a:r>
            <a:r>
              <a:rPr lang="en-US" sz="1600"/>
              <a:t>for further SKU predictions in contrast to </a:t>
            </a:r>
            <a:r>
              <a:rPr lang="en-US" sz="1600" err="1"/>
              <a:t>XGBoost</a:t>
            </a:r>
            <a:r>
              <a:rPr lang="en-US" sz="1600"/>
              <a:t>, Time Series, or similar models</a:t>
            </a:r>
          </a:p>
          <a:p>
            <a:pPr marL="165100" lvl="1" indent="-165100">
              <a:buFont typeface="Wingdings" pitchFamily="2" charset="2"/>
              <a:buChar char="§"/>
            </a:pPr>
            <a:r>
              <a:rPr lang="en-US" sz="1600" b="1"/>
              <a:t>Stock inventory </a:t>
            </a:r>
            <a:r>
              <a:rPr lang="en-US" sz="1600"/>
              <a:t>in anticipation of promotions</a:t>
            </a:r>
          </a:p>
          <a:p>
            <a:pPr marL="165100" lvl="1" indent="-165100">
              <a:buFont typeface="Wingdings" pitchFamily="2" charset="2"/>
              <a:buChar char="§"/>
            </a:pPr>
            <a:r>
              <a:rPr lang="en-US" sz="1600"/>
              <a:t>Constantly </a:t>
            </a:r>
            <a:r>
              <a:rPr lang="en-US" sz="1600" b="1"/>
              <a:t>adjust prices and promotions </a:t>
            </a:r>
            <a:r>
              <a:rPr lang="en-US" sz="1600"/>
              <a:t>according to inflation and consumer sentiment</a:t>
            </a:r>
          </a:p>
          <a:p>
            <a:pPr marL="165100" lvl="1" indent="-165100">
              <a:buFont typeface="Wingdings" pitchFamily="2" charset="2"/>
              <a:buChar char="§"/>
            </a:pPr>
            <a:r>
              <a:rPr lang="en-US" sz="1600" b="1"/>
              <a:t>Incorporate seasonality </a:t>
            </a:r>
            <a:r>
              <a:rPr lang="en-US" sz="1600"/>
              <a:t>of products during the order process</a:t>
            </a:r>
          </a:p>
          <a:p>
            <a:pPr marL="165100" lvl="1" indent="-165100">
              <a:buFont typeface="Wingdings" pitchFamily="2" charset="2"/>
              <a:buChar char="§"/>
            </a:pPr>
            <a:r>
              <a:rPr lang="en-US" sz="1600" b="1"/>
              <a:t>Utilize discounting strategies </a:t>
            </a:r>
            <a:r>
              <a:rPr lang="en-US" sz="1600"/>
              <a:t>for pushing sales of slow-selling SKUs</a:t>
            </a:r>
          </a:p>
          <a:p>
            <a:pPr marL="165100" lvl="1" indent="-165100">
              <a:buFont typeface="Wingdings" pitchFamily="2" charset="2"/>
              <a:buChar char="§"/>
            </a:pPr>
            <a:r>
              <a:rPr lang="en-US" sz="1600"/>
              <a:t>Improve capturing </a:t>
            </a:r>
            <a:r>
              <a:rPr lang="en-US" sz="1600" b="1"/>
              <a:t>competitor prices</a:t>
            </a:r>
            <a:r>
              <a:rPr lang="en-US" sz="1600"/>
              <a:t> to boost data quality</a:t>
            </a:r>
            <a:endParaRPr lang="en-US" sz="1600" b="1"/>
          </a:p>
        </p:txBody>
      </p:sp>
      <p:grpSp>
        <p:nvGrpSpPr>
          <p:cNvPr id="11" name="H2">
            <a:extLst>
              <a:ext uri="{FF2B5EF4-FFF2-40B4-BE49-F238E27FC236}">
                <a16:creationId xmlns:a16="http://schemas.microsoft.com/office/drawing/2014/main" id="{4B17B53E-41CF-3105-EB5F-9E41D3736E91}"/>
              </a:ext>
            </a:extLst>
          </p:cNvPr>
          <p:cNvGrpSpPr/>
          <p:nvPr/>
        </p:nvGrpSpPr>
        <p:grpSpPr bwMode="auto">
          <a:xfrm>
            <a:off x="4375074" y="1686662"/>
            <a:ext cx="3328416" cy="341632"/>
            <a:chOff x="3594526" y="2172968"/>
            <a:chExt cx="2423160" cy="341632"/>
          </a:xfrm>
        </p:grpSpPr>
        <p:cxnSp>
          <p:nvCxnSpPr>
            <p:cNvPr id="12" name="Heading underline 2">
              <a:extLst>
                <a:ext uri="{FF2B5EF4-FFF2-40B4-BE49-F238E27FC236}">
                  <a16:creationId xmlns:a16="http://schemas.microsoft.com/office/drawing/2014/main" id="{EA360E11-5FC0-9E9F-2907-F8BF2B458E32}"/>
                </a:ext>
              </a:extLst>
            </p:cNvPr>
            <p:cNvCxnSpPr/>
            <p:nvPr/>
          </p:nvCxnSpPr>
          <p:spPr bwMode="auto">
            <a:xfrm>
              <a:off x="3594526" y="2514600"/>
              <a:ext cx="2423160" cy="0"/>
            </a:xfrm>
            <a:prstGeom prst="line">
              <a:avLst/>
            </a:prstGeom>
            <a:noFill/>
            <a:ln w="12700" cap="flat" cmpd="sng" algn="ctr">
              <a:solidFill>
                <a:srgbClr val="1A1628"/>
              </a:solidFill>
              <a:prstDash val="solid"/>
              <a:round/>
            </a:ln>
            <a:effectLst/>
          </p:spPr>
        </p:cxnSp>
        <p:sp>
          <p:nvSpPr>
            <p:cNvPr id="13" name="Heading 2">
              <a:extLst>
                <a:ext uri="{FF2B5EF4-FFF2-40B4-BE49-F238E27FC236}">
                  <a16:creationId xmlns:a16="http://schemas.microsoft.com/office/drawing/2014/main" id="{023A9A77-F867-5A12-08B4-653D02ADA129}"/>
                </a:ext>
              </a:extLst>
            </p:cNvPr>
            <p:cNvSpPr txBox="1">
              <a:spLocks/>
            </p:cNvSpPr>
            <p:nvPr/>
          </p:nvSpPr>
          <p:spPr bwMode="auto">
            <a:xfrm>
              <a:off x="3594526" y="2172968"/>
              <a:ext cx="2423160" cy="341632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vert="horz" lIns="0" tIns="0" rIns="0" bIns="64008" rtlCol="0" anchor="b">
              <a:spAutoFit/>
            </a:bodyPr>
            <a:lstStyle>
              <a:lvl1pPr marL="0" indent="0" defTabSz="91440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None/>
                <a:defRPr sz="2000" b="1">
                  <a:solidFill>
                    <a:schemeClr val="bg2"/>
                  </a:solidFill>
                  <a:latin typeface="+mn-lt"/>
                </a:defRPr>
              </a:lvl1pPr>
              <a:lvl2pPr marL="228600" indent="-228600" algn="l" defTabSz="914400" eaLnBrk="1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chemeClr val="tx1"/>
                </a:buClr>
                <a:buFont typeface="Wingdings 2" panose="05020102010507070707" pitchFamily="18" charset="2"/>
                <a:buChar char=""/>
                <a:defRPr sz="1800">
                  <a:latin typeface="+mn-lt"/>
                </a:defRPr>
              </a:lvl2pPr>
              <a:lvl3pPr marL="457200" indent="-228600" algn="l" defTabSz="914400" eaLnBrk="1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chemeClr val="tx1"/>
                </a:buClr>
                <a:buFont typeface="Arial" panose="020B0604020202020204" pitchFamily="34" charset="0"/>
                <a:buChar char="–"/>
                <a:defRPr sz="1800">
                  <a:latin typeface="+mn-lt"/>
                </a:defRPr>
              </a:lvl3pPr>
              <a:lvl4pPr marL="1600200" indent="-228600" algn="l" defTabSz="914400" eaLnBrk="1" latinLnBrk="0" hangingPunct="1">
                <a:lnSpc>
                  <a:spcPct val="10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>
                  <a:latin typeface="+mn-lt"/>
                </a:defRPr>
              </a:lvl4pPr>
              <a:lvl5pPr marL="2057400" indent="-228600" algn="l" defTabSz="914400" eaLnBrk="1" latinLnBrk="0" hangingPunct="1">
                <a:lnSpc>
                  <a:spcPct val="10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>
                  <a:latin typeface="+mn-lt"/>
                </a:defRPr>
              </a:lvl5pPr>
              <a:lvl6pPr marL="25146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>
                  <a:latin typeface="+mn-lt"/>
                </a:defRPr>
              </a:lvl6pPr>
              <a:lvl7pPr marL="29718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>
                  <a:latin typeface="+mn-lt"/>
                </a:defRPr>
              </a:lvl7pPr>
              <a:lvl8pPr marL="3429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>
                  <a:latin typeface="+mn-lt"/>
                </a:defRPr>
              </a:lvl8pPr>
              <a:lvl9pPr marL="3886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>
                  <a:latin typeface="+mn-lt"/>
                </a:defRPr>
              </a:lvl9pPr>
            </a:lstStyle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800" b="1" i="0" u="none" strike="noStrike" kern="0" cap="none" spc="0" normalizeH="0" baseline="0" noProof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rPr>
                <a:t>Recommendations</a:t>
              </a:r>
            </a:p>
          </p:txBody>
        </p:sp>
      </p:grpSp>
      <p:sp>
        <p:nvSpPr>
          <p:cNvPr id="14" name="Body copy 1">
            <a:extLst>
              <a:ext uri="{FF2B5EF4-FFF2-40B4-BE49-F238E27FC236}">
                <a16:creationId xmlns:a16="http://schemas.microsoft.com/office/drawing/2014/main" id="{B29C6593-7EBE-4367-EEA7-EC6BB46FA621}"/>
              </a:ext>
            </a:extLst>
          </p:cNvPr>
          <p:cNvSpPr txBox="1">
            <a:spLocks/>
          </p:cNvSpPr>
          <p:nvPr/>
        </p:nvSpPr>
        <p:spPr bwMode="auto">
          <a:xfrm>
            <a:off x="493446" y="2192886"/>
            <a:ext cx="3328416" cy="3754874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marL="0" indent="0" defTabSz="914400" eaLnBrk="1" latinLnBrk="0" hangingPunct="1">
              <a:lnSpc>
                <a:spcPct val="100000"/>
              </a:lnSpc>
              <a:spcBef>
                <a:spcPts val="15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>
                <a:latin typeface="+mn-lt"/>
              </a:defRPr>
            </a:lvl1pPr>
            <a:lvl2pPr marL="228600" indent="-228600" algn="l" defTabSz="91440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tx1"/>
              </a:buClr>
              <a:buFont typeface="Wingdings 2" panose="05020102010507070707" pitchFamily="18" charset="2"/>
              <a:buChar char=""/>
              <a:defRPr sz="1800">
                <a:latin typeface="+mn-lt"/>
              </a:defRPr>
            </a:lvl2pPr>
            <a:lvl3pPr marL="457200" indent="-228600" algn="l" defTabSz="91440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–"/>
              <a:defRPr sz="1800">
                <a:latin typeface="+mn-lt"/>
              </a:defRPr>
            </a:lvl3pPr>
            <a:lvl4pPr marL="1600200" indent="-228600" algn="l" defTabSz="91440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>
                <a:latin typeface="+mn-lt"/>
              </a:defRPr>
            </a:lvl4pPr>
            <a:lvl5pPr marL="2057400" indent="-228600" algn="l" defTabSz="91440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>
                <a:latin typeface="+mn-lt"/>
              </a:defRPr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>
                <a:latin typeface="+mn-lt"/>
              </a:defRPr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>
                <a:latin typeface="+mn-lt"/>
              </a:defRPr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>
                <a:latin typeface="+mn-lt"/>
              </a:defRPr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>
                <a:latin typeface="+mn-lt"/>
              </a:defRPr>
            </a:lvl9pPr>
          </a:lstStyle>
          <a:p>
            <a:pPr marL="165100" lvl="1" indent="-165100" fontAlgn="base">
              <a:buClr>
                <a:schemeClr val="tx2"/>
              </a:buClr>
              <a:buSzPct val="100000"/>
              <a:buFont typeface="Wingdings" pitchFamily="2" charset="2"/>
              <a:buChar char="§"/>
            </a:pPr>
            <a:r>
              <a:rPr lang="en-US" sz="1600" b="1" err="1">
                <a:solidFill>
                  <a:srgbClr val="1A1628"/>
                </a:solidFill>
                <a:cs typeface="Arial" panose="020B0604020202020204" pitchFamily="34" charset="0"/>
              </a:rPr>
              <a:t>LightGBM</a:t>
            </a:r>
            <a:r>
              <a:rPr lang="en-US" sz="1600" b="1">
                <a:solidFill>
                  <a:srgbClr val="1A1628"/>
                </a:solidFill>
                <a:cs typeface="Arial" panose="020B0604020202020204" pitchFamily="34" charset="0"/>
              </a:rPr>
              <a:t> is extremely fast </a:t>
            </a:r>
            <a:r>
              <a:rPr lang="en-US" sz="1600">
                <a:solidFill>
                  <a:srgbClr val="1A1628"/>
                </a:solidFill>
                <a:cs typeface="Arial" panose="020B0604020202020204" pitchFamily="34" charset="0"/>
              </a:rPr>
              <a:t>and</a:t>
            </a:r>
            <a:r>
              <a:rPr lang="en-US" sz="1600" b="1">
                <a:solidFill>
                  <a:srgbClr val="1A1628"/>
                </a:solidFill>
                <a:cs typeface="Arial" panose="020B0604020202020204" pitchFamily="34" charset="0"/>
              </a:rPr>
              <a:t> has extremely low RMSE</a:t>
            </a:r>
          </a:p>
          <a:p>
            <a:pPr marL="165100" lvl="1" indent="-165100" fontAlgn="base">
              <a:buClr>
                <a:schemeClr val="tx2"/>
              </a:buClr>
              <a:buSzPct val="100000"/>
              <a:buFont typeface="Wingdings" pitchFamily="2" charset="2"/>
              <a:buChar char="§"/>
            </a:pPr>
            <a:r>
              <a:rPr lang="en-US" sz="1600" b="1">
                <a:solidFill>
                  <a:srgbClr val="1A1628"/>
                </a:solidFill>
                <a:cs typeface="Arial" panose="020B0604020202020204" pitchFamily="34" charset="0"/>
              </a:rPr>
              <a:t>Most important features </a:t>
            </a:r>
            <a:r>
              <a:rPr lang="en-US" sz="1600">
                <a:solidFill>
                  <a:srgbClr val="1A1628"/>
                </a:solidFill>
                <a:cs typeface="Arial" panose="020B0604020202020204" pitchFamily="34" charset="0"/>
              </a:rPr>
              <a:t>are most recent sales, day of the week, and promotional discount</a:t>
            </a:r>
          </a:p>
          <a:p>
            <a:pPr marL="165100" lvl="1" indent="-165100" fontAlgn="base">
              <a:buClr>
                <a:schemeClr val="tx2"/>
              </a:buClr>
              <a:buSzPct val="100000"/>
              <a:buFont typeface="Wingdings" pitchFamily="2" charset="2"/>
              <a:buChar char="§"/>
            </a:pPr>
            <a:r>
              <a:rPr lang="en-US" sz="1600" b="1">
                <a:solidFill>
                  <a:srgbClr val="1A1628"/>
                </a:solidFill>
                <a:cs typeface="Arial" panose="020B0604020202020204" pitchFamily="34" charset="0"/>
              </a:rPr>
              <a:t>External features </a:t>
            </a:r>
            <a:r>
              <a:rPr lang="en-US" sz="1600">
                <a:solidFill>
                  <a:srgbClr val="1A1628"/>
                </a:solidFill>
                <a:cs typeface="Arial" panose="020B0604020202020204" pitchFamily="34" charset="0"/>
              </a:rPr>
              <a:t>such as the global supply chain pressure index and the inflation rate also </a:t>
            </a:r>
            <a:r>
              <a:rPr lang="en-US" sz="1600" b="1">
                <a:solidFill>
                  <a:srgbClr val="1A1628"/>
                </a:solidFill>
                <a:cs typeface="Arial" panose="020B0604020202020204" pitchFamily="34" charset="0"/>
              </a:rPr>
              <a:t>played important roles</a:t>
            </a:r>
          </a:p>
          <a:p>
            <a:pPr marL="165100" lvl="1" indent="-165100" fontAlgn="base">
              <a:buClr>
                <a:schemeClr val="tx2"/>
              </a:buClr>
              <a:buSzPct val="100000"/>
              <a:buFont typeface="Wingdings" pitchFamily="2" charset="2"/>
              <a:buChar char="§"/>
            </a:pPr>
            <a:r>
              <a:rPr lang="en-US" sz="1600">
                <a:solidFill>
                  <a:srgbClr val="1A1628"/>
                </a:solidFill>
                <a:cs typeface="Arial" panose="020B0604020202020204" pitchFamily="34" charset="0"/>
              </a:rPr>
              <a:t>The higher the recent sales, the higher the predicted sales. Similar for promotional discount</a:t>
            </a:r>
          </a:p>
          <a:p>
            <a:pPr marL="165100" lvl="1" indent="-165100" fontAlgn="base">
              <a:buClr>
                <a:schemeClr val="tx2"/>
              </a:buClr>
              <a:buSzPct val="100000"/>
              <a:buFont typeface="Wingdings" pitchFamily="2" charset="2"/>
              <a:buChar char="§"/>
            </a:pPr>
            <a:r>
              <a:rPr lang="en-US" sz="1600">
                <a:solidFill>
                  <a:srgbClr val="1A1628"/>
                </a:solidFill>
                <a:cs typeface="Arial" panose="020B0604020202020204" pitchFamily="34" charset="0"/>
              </a:rPr>
              <a:t>The more the supply chain pressure, the lower the predicted sales</a:t>
            </a:r>
          </a:p>
        </p:txBody>
      </p:sp>
      <p:grpSp>
        <p:nvGrpSpPr>
          <p:cNvPr id="15" name="H1">
            <a:extLst>
              <a:ext uri="{FF2B5EF4-FFF2-40B4-BE49-F238E27FC236}">
                <a16:creationId xmlns:a16="http://schemas.microsoft.com/office/drawing/2014/main" id="{D637C13F-C229-BDB8-A05B-8D5F3174FF22}"/>
              </a:ext>
            </a:extLst>
          </p:cNvPr>
          <p:cNvGrpSpPr/>
          <p:nvPr/>
        </p:nvGrpSpPr>
        <p:grpSpPr bwMode="auto">
          <a:xfrm>
            <a:off x="493446" y="1686662"/>
            <a:ext cx="3328416" cy="341632"/>
            <a:chOff x="548640" y="2172968"/>
            <a:chExt cx="2423160" cy="341632"/>
          </a:xfrm>
        </p:grpSpPr>
        <p:cxnSp>
          <p:nvCxnSpPr>
            <p:cNvPr id="16" name="Heading underline 1">
              <a:extLst>
                <a:ext uri="{FF2B5EF4-FFF2-40B4-BE49-F238E27FC236}">
                  <a16:creationId xmlns:a16="http://schemas.microsoft.com/office/drawing/2014/main" id="{67255774-09CC-8515-03A2-9DD1174400B4}"/>
                </a:ext>
              </a:extLst>
            </p:cNvPr>
            <p:cNvCxnSpPr/>
            <p:nvPr/>
          </p:nvCxnSpPr>
          <p:spPr bwMode="auto">
            <a:xfrm>
              <a:off x="548640" y="2514600"/>
              <a:ext cx="2423160" cy="0"/>
            </a:xfrm>
            <a:prstGeom prst="line">
              <a:avLst/>
            </a:prstGeom>
            <a:noFill/>
            <a:ln w="12700" cap="flat" cmpd="sng" algn="ctr">
              <a:solidFill>
                <a:srgbClr val="1A1628"/>
              </a:solidFill>
              <a:prstDash val="solid"/>
              <a:round/>
            </a:ln>
            <a:effectLst/>
          </p:spPr>
        </p:cxnSp>
        <p:sp>
          <p:nvSpPr>
            <p:cNvPr id="17" name="Heading 1">
              <a:extLst>
                <a:ext uri="{FF2B5EF4-FFF2-40B4-BE49-F238E27FC236}">
                  <a16:creationId xmlns:a16="http://schemas.microsoft.com/office/drawing/2014/main" id="{0DEB3184-65C2-1D25-20FA-0D98F7D21E55}"/>
                </a:ext>
              </a:extLst>
            </p:cNvPr>
            <p:cNvSpPr txBox="1">
              <a:spLocks/>
            </p:cNvSpPr>
            <p:nvPr/>
          </p:nvSpPr>
          <p:spPr bwMode="auto">
            <a:xfrm>
              <a:off x="548640" y="2172968"/>
              <a:ext cx="2423160" cy="341632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vert="horz" lIns="0" tIns="0" rIns="0" bIns="64008" rtlCol="0" anchor="b">
              <a:spAutoFit/>
            </a:bodyPr>
            <a:lstStyle>
              <a:lvl1pPr marL="0" indent="0" defTabSz="91440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None/>
                <a:defRPr sz="2000" b="1">
                  <a:solidFill>
                    <a:schemeClr val="bg2"/>
                  </a:solidFill>
                  <a:latin typeface="+mn-lt"/>
                </a:defRPr>
              </a:lvl1pPr>
              <a:lvl2pPr marL="228600" indent="-228600" algn="l" defTabSz="914400" eaLnBrk="1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chemeClr val="tx1"/>
                </a:buClr>
                <a:buFont typeface="Wingdings 2" panose="05020102010507070707" pitchFamily="18" charset="2"/>
                <a:buChar char=""/>
                <a:defRPr sz="1800">
                  <a:latin typeface="+mn-lt"/>
                </a:defRPr>
              </a:lvl2pPr>
              <a:lvl3pPr marL="457200" indent="-228600" algn="l" defTabSz="914400" eaLnBrk="1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chemeClr val="tx1"/>
                </a:buClr>
                <a:buFont typeface="Arial" panose="020B0604020202020204" pitchFamily="34" charset="0"/>
                <a:buChar char="–"/>
                <a:defRPr sz="1800">
                  <a:latin typeface="+mn-lt"/>
                </a:defRPr>
              </a:lvl3pPr>
              <a:lvl4pPr marL="1600200" indent="-228600" algn="l" defTabSz="914400" eaLnBrk="1" latinLnBrk="0" hangingPunct="1">
                <a:lnSpc>
                  <a:spcPct val="10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>
                  <a:latin typeface="+mn-lt"/>
                </a:defRPr>
              </a:lvl4pPr>
              <a:lvl5pPr marL="2057400" indent="-228600" algn="l" defTabSz="914400" eaLnBrk="1" latinLnBrk="0" hangingPunct="1">
                <a:lnSpc>
                  <a:spcPct val="10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>
                  <a:latin typeface="+mn-lt"/>
                </a:defRPr>
              </a:lvl5pPr>
              <a:lvl6pPr marL="25146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>
                  <a:latin typeface="+mn-lt"/>
                </a:defRPr>
              </a:lvl6pPr>
              <a:lvl7pPr marL="29718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>
                  <a:latin typeface="+mn-lt"/>
                </a:defRPr>
              </a:lvl7pPr>
              <a:lvl8pPr marL="3429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>
                  <a:latin typeface="+mn-lt"/>
                </a:defRPr>
              </a:lvl8pPr>
              <a:lvl9pPr marL="3886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>
                  <a:latin typeface="+mn-lt"/>
                </a:defRPr>
              </a:lvl9pPr>
            </a:lstStyle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800" b="1" i="0" u="none" strike="noStrike" kern="0" cap="none" spc="0" normalizeH="0" baseline="0" noProof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rPr>
                <a:t>Insights</a:t>
              </a:r>
            </a:p>
          </p:txBody>
        </p:sp>
      </p:grp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43CC76ED-F899-2C7D-B526-94459A153B1A}"/>
              </a:ext>
            </a:extLst>
          </p:cNvPr>
          <p:cNvCxnSpPr>
            <a:cxnSpLocks/>
          </p:cNvCxnSpPr>
          <p:nvPr/>
        </p:nvCxnSpPr>
        <p:spPr bwMode="gray">
          <a:xfrm>
            <a:off x="7980096" y="1397438"/>
            <a:ext cx="0" cy="4754880"/>
          </a:xfrm>
          <a:prstGeom prst="line">
            <a:avLst/>
          </a:prstGeom>
          <a:noFill/>
          <a:ln w="9525" cap="rnd" cmpd="sng" algn="ctr">
            <a:solidFill>
              <a:srgbClr val="75737D"/>
            </a:solidFill>
            <a:prstDash val="solid"/>
            <a:round/>
          </a:ln>
          <a:effectLst/>
        </p:spPr>
      </p:cxnSp>
      <p:grpSp>
        <p:nvGrpSpPr>
          <p:cNvPr id="27" name="Group 26">
            <a:extLst>
              <a:ext uri="{FF2B5EF4-FFF2-40B4-BE49-F238E27FC236}">
                <a16:creationId xmlns:a16="http://schemas.microsoft.com/office/drawing/2014/main" id="{8F38604B-8998-2C4D-7B87-F3CC2C5EE132}"/>
              </a:ext>
            </a:extLst>
          </p:cNvPr>
          <p:cNvGrpSpPr/>
          <p:nvPr/>
        </p:nvGrpSpPr>
        <p:grpSpPr bwMode="gray">
          <a:xfrm>
            <a:off x="7826641" y="3621423"/>
            <a:ext cx="306910" cy="306910"/>
            <a:chOff x="6313199" y="4229315"/>
            <a:chExt cx="306910" cy="306910"/>
          </a:xfrm>
        </p:grpSpPr>
        <p:sp>
          <p:nvSpPr>
            <p:cNvPr id="28" name="Oval 50">
              <a:extLst>
                <a:ext uri="{FF2B5EF4-FFF2-40B4-BE49-F238E27FC236}">
                  <a16:creationId xmlns:a16="http://schemas.microsoft.com/office/drawing/2014/main" id="{215FC472-8814-2A82-D247-93A9BF9EAFCB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6313199" y="4229315"/>
              <a:ext cx="306910" cy="306910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grpSp>
          <p:nvGrpSpPr>
            <p:cNvPr id="29" name="Group 28">
              <a:extLst>
                <a:ext uri="{FF2B5EF4-FFF2-40B4-BE49-F238E27FC236}">
                  <a16:creationId xmlns:a16="http://schemas.microsoft.com/office/drawing/2014/main" id="{B5825938-9157-50F8-12B7-91E849C48626}"/>
                </a:ext>
              </a:extLst>
            </p:cNvPr>
            <p:cNvGrpSpPr/>
            <p:nvPr/>
          </p:nvGrpSpPr>
          <p:grpSpPr bwMode="gray">
            <a:xfrm>
              <a:off x="6399804" y="4314508"/>
              <a:ext cx="140052" cy="136525"/>
              <a:chOff x="6405478" y="4314507"/>
              <a:chExt cx="140052" cy="136525"/>
            </a:xfrm>
          </p:grpSpPr>
          <p:sp>
            <p:nvSpPr>
              <p:cNvPr id="30" name="Arrow: Chevron 373">
                <a:extLst>
                  <a:ext uri="{FF2B5EF4-FFF2-40B4-BE49-F238E27FC236}">
                    <a16:creationId xmlns:a16="http://schemas.microsoft.com/office/drawing/2014/main" id="{2671AA52-3333-E40B-1732-7CBD9CE1C1D9}"/>
                  </a:ext>
                </a:extLst>
              </p:cNvPr>
              <p:cNvSpPr/>
              <p:nvPr/>
            </p:nvSpPr>
            <p:spPr bwMode="gray">
              <a:xfrm>
                <a:off x="6405478" y="4314507"/>
                <a:ext cx="74784" cy="136525"/>
              </a:xfrm>
              <a:prstGeom prst="chevron">
                <a:avLst>
                  <a:gd name="adj" fmla="val 71053"/>
                </a:avLst>
              </a:prstGeom>
              <a:solidFill>
                <a:srgbClr val="FFFFFF"/>
              </a:solidFill>
              <a:ln w="9525" cap="flat" cmpd="sng" algn="ctr">
                <a:noFill/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31" name="Arrow: Chevron 374">
                <a:extLst>
                  <a:ext uri="{FF2B5EF4-FFF2-40B4-BE49-F238E27FC236}">
                    <a16:creationId xmlns:a16="http://schemas.microsoft.com/office/drawing/2014/main" id="{1A71FF59-DAD2-AA2C-9CF3-435063521F78}"/>
                  </a:ext>
                </a:extLst>
              </p:cNvPr>
              <p:cNvSpPr/>
              <p:nvPr/>
            </p:nvSpPr>
            <p:spPr bwMode="gray">
              <a:xfrm>
                <a:off x="6470746" y="4314507"/>
                <a:ext cx="74784" cy="136525"/>
              </a:xfrm>
              <a:prstGeom prst="chevron">
                <a:avLst>
                  <a:gd name="adj" fmla="val 71053"/>
                </a:avLst>
              </a:prstGeom>
              <a:solidFill>
                <a:srgbClr val="FFFFFF"/>
              </a:solidFill>
              <a:ln w="9525" cap="flat" cmpd="sng" algn="ctr">
                <a:noFill/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</p:grpSp>
      </p:grpSp>
      <p:pic>
        <p:nvPicPr>
          <p:cNvPr id="41" name="Graphic 40" descr="Lights On with solid fill">
            <a:extLst>
              <a:ext uri="{FF2B5EF4-FFF2-40B4-BE49-F238E27FC236}">
                <a16:creationId xmlns:a16="http://schemas.microsoft.com/office/drawing/2014/main" id="{39D4F2E9-AD55-B110-912B-A6E2E1F5C77F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3071117" y="1276999"/>
            <a:ext cx="750745" cy="750745"/>
          </a:xfrm>
          <a:prstGeom prst="rect">
            <a:avLst/>
          </a:prstGeom>
        </p:spPr>
      </p:pic>
      <p:pic>
        <p:nvPicPr>
          <p:cNvPr id="43" name="Graphic 42" descr="Speech with solid fill">
            <a:extLst>
              <a:ext uri="{FF2B5EF4-FFF2-40B4-BE49-F238E27FC236}">
                <a16:creationId xmlns:a16="http://schemas.microsoft.com/office/drawing/2014/main" id="{59A27BFE-BC45-7D5F-33C9-E270D5528245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6952745" y="1353201"/>
            <a:ext cx="750745" cy="750745"/>
          </a:xfrm>
          <a:prstGeom prst="rect">
            <a:avLst/>
          </a:prstGeom>
        </p:spPr>
      </p:pic>
      <p:pic>
        <p:nvPicPr>
          <p:cNvPr id="45" name="Graphic 44" descr="End with solid fill">
            <a:extLst>
              <a:ext uri="{FF2B5EF4-FFF2-40B4-BE49-F238E27FC236}">
                <a16:creationId xmlns:a16="http://schemas.microsoft.com/office/drawing/2014/main" id="{44ADCD0F-306B-50C5-82F2-F4FA15992683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0834373" y="1320543"/>
            <a:ext cx="750745" cy="750745"/>
          </a:xfrm>
          <a:prstGeom prst="rect">
            <a:avLst/>
          </a:prstGeom>
        </p:spPr>
      </p:pic>
      <p:cxnSp>
        <p:nvCxnSpPr>
          <p:cNvPr id="48" name="Straight Connector 47">
            <a:extLst>
              <a:ext uri="{FF2B5EF4-FFF2-40B4-BE49-F238E27FC236}">
                <a16:creationId xmlns:a16="http://schemas.microsoft.com/office/drawing/2014/main" id="{EBD15CC1-7C59-FA74-411E-DD3AE7A04847}"/>
              </a:ext>
            </a:extLst>
          </p:cNvPr>
          <p:cNvCxnSpPr>
            <a:cxnSpLocks/>
          </p:cNvCxnSpPr>
          <p:nvPr/>
        </p:nvCxnSpPr>
        <p:spPr bwMode="gray">
          <a:xfrm>
            <a:off x="4098468" y="1397438"/>
            <a:ext cx="0" cy="4754880"/>
          </a:xfrm>
          <a:prstGeom prst="line">
            <a:avLst/>
          </a:prstGeom>
          <a:noFill/>
          <a:ln w="9525" cap="rnd" cmpd="sng" algn="ctr">
            <a:solidFill>
              <a:srgbClr val="75737D"/>
            </a:solidFill>
            <a:prstDash val="solid"/>
            <a:round/>
          </a:ln>
          <a:effectLst/>
        </p:spPr>
      </p:cxnSp>
      <p:grpSp>
        <p:nvGrpSpPr>
          <p:cNvPr id="49" name="Group 48">
            <a:extLst>
              <a:ext uri="{FF2B5EF4-FFF2-40B4-BE49-F238E27FC236}">
                <a16:creationId xmlns:a16="http://schemas.microsoft.com/office/drawing/2014/main" id="{293BAFDC-80D5-B5F1-1648-16179C306658}"/>
              </a:ext>
            </a:extLst>
          </p:cNvPr>
          <p:cNvGrpSpPr/>
          <p:nvPr/>
        </p:nvGrpSpPr>
        <p:grpSpPr bwMode="gray">
          <a:xfrm>
            <a:off x="3945013" y="3621423"/>
            <a:ext cx="306910" cy="306910"/>
            <a:chOff x="6313199" y="4229315"/>
            <a:chExt cx="306910" cy="306910"/>
          </a:xfrm>
        </p:grpSpPr>
        <p:sp>
          <p:nvSpPr>
            <p:cNvPr id="50" name="Oval 50">
              <a:extLst>
                <a:ext uri="{FF2B5EF4-FFF2-40B4-BE49-F238E27FC236}">
                  <a16:creationId xmlns:a16="http://schemas.microsoft.com/office/drawing/2014/main" id="{37BB1E33-2E64-D43B-76C0-A94831A4FE94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6313199" y="4229315"/>
              <a:ext cx="306910" cy="306910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grpSp>
          <p:nvGrpSpPr>
            <p:cNvPr id="51" name="Group 50">
              <a:extLst>
                <a:ext uri="{FF2B5EF4-FFF2-40B4-BE49-F238E27FC236}">
                  <a16:creationId xmlns:a16="http://schemas.microsoft.com/office/drawing/2014/main" id="{92390226-22D8-15DC-F6FD-2BEB8AE1A416}"/>
                </a:ext>
              </a:extLst>
            </p:cNvPr>
            <p:cNvGrpSpPr/>
            <p:nvPr/>
          </p:nvGrpSpPr>
          <p:grpSpPr bwMode="gray">
            <a:xfrm>
              <a:off x="6399804" y="4314508"/>
              <a:ext cx="140052" cy="136525"/>
              <a:chOff x="6405478" y="4314507"/>
              <a:chExt cx="140052" cy="136525"/>
            </a:xfrm>
          </p:grpSpPr>
          <p:sp>
            <p:nvSpPr>
              <p:cNvPr id="52" name="Arrow: Chevron 373">
                <a:extLst>
                  <a:ext uri="{FF2B5EF4-FFF2-40B4-BE49-F238E27FC236}">
                    <a16:creationId xmlns:a16="http://schemas.microsoft.com/office/drawing/2014/main" id="{DBB3EF9E-87EC-ACAB-0458-67F3A64A8246}"/>
                  </a:ext>
                </a:extLst>
              </p:cNvPr>
              <p:cNvSpPr/>
              <p:nvPr/>
            </p:nvSpPr>
            <p:spPr bwMode="gray">
              <a:xfrm>
                <a:off x="6405478" y="4314507"/>
                <a:ext cx="74784" cy="136525"/>
              </a:xfrm>
              <a:prstGeom prst="chevron">
                <a:avLst>
                  <a:gd name="adj" fmla="val 71053"/>
                </a:avLst>
              </a:prstGeom>
              <a:solidFill>
                <a:srgbClr val="FFFFFF"/>
              </a:solidFill>
              <a:ln w="9525" cap="flat" cmpd="sng" algn="ctr">
                <a:noFill/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53" name="Arrow: Chevron 374">
                <a:extLst>
                  <a:ext uri="{FF2B5EF4-FFF2-40B4-BE49-F238E27FC236}">
                    <a16:creationId xmlns:a16="http://schemas.microsoft.com/office/drawing/2014/main" id="{BD8C4A2A-0A23-E95D-3C92-4495E5E0A91C}"/>
                  </a:ext>
                </a:extLst>
              </p:cNvPr>
              <p:cNvSpPr/>
              <p:nvPr/>
            </p:nvSpPr>
            <p:spPr bwMode="gray">
              <a:xfrm>
                <a:off x="6470746" y="4314507"/>
                <a:ext cx="74784" cy="136525"/>
              </a:xfrm>
              <a:prstGeom prst="chevron">
                <a:avLst>
                  <a:gd name="adj" fmla="val 71053"/>
                </a:avLst>
              </a:prstGeom>
              <a:solidFill>
                <a:srgbClr val="FFFFFF"/>
              </a:solidFill>
              <a:ln w="9525" cap="flat" cmpd="sng" algn="ctr">
                <a:noFill/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20598019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7E53FD54-E6DC-BCE0-4BBB-69BAF9ED7A7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42078580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7E53FD54-E6DC-BCE0-4BBB-69BAF9ED7A7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0FCA8915-49F5-B0A7-3E79-B63CE49D514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Q&amp;A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F7F7694-9F2E-418D-9BB3-EE5CEB834DC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8C09DA5-8C43-4702-8900-F4900F7A89AE}" type="slidenum">
              <a:rPr lang="en-US" smtClean="0"/>
              <a:pPr/>
              <a:t>8</a:t>
            </a:fld>
            <a:endParaRPr lang="en-US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6A047E8C-A273-5F9A-E1E5-02AF9B75C7F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 anchor="ctr">
            <a:normAutofit/>
          </a:bodyPr>
          <a:lstStyle/>
          <a:p>
            <a:pPr marL="6350" indent="0" algn="ctr">
              <a:buNone/>
            </a:pPr>
            <a:r>
              <a:rPr lang="en-US" sz="4800"/>
              <a:t>THANK YOU! </a:t>
            </a:r>
            <a:r>
              <a:rPr lang="en-US" sz="4800">
                <a:sym typeface="Wingdings" panose="05000000000000000000" pitchFamily="2" charset="2"/>
              </a:rPr>
              <a:t></a:t>
            </a:r>
            <a:endParaRPr lang="en-US" sz="4800"/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id="{141B7169-A1EA-8B9F-7189-849E8CEA2BF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839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Content Placeholder 3">
            <a:extLst>
              <a:ext uri="{FF2B5EF4-FFF2-40B4-BE49-F238E27FC236}">
                <a16:creationId xmlns:a16="http://schemas.microsoft.com/office/drawing/2014/main" id="{FC427F91-FBFC-227D-69DA-4EC4C96F7A7F}"/>
              </a:ext>
            </a:extLst>
          </p:cNvPr>
          <p:cNvSpPr txBox="1">
            <a:spLocks/>
          </p:cNvSpPr>
          <p:nvPr/>
        </p:nvSpPr>
        <p:spPr>
          <a:xfrm>
            <a:off x="5874948" y="446313"/>
            <a:ext cx="6144986" cy="557805"/>
          </a:xfrm>
          <a:prstGeom prst="rect">
            <a:avLst/>
          </a:prstGeom>
        </p:spPr>
        <p:txBody>
          <a:bodyPr vert="horz" lIns="0" tIns="0" rIns="0" bIns="0" rtlCol="0" anchor="ctr">
            <a:normAutofit fontScale="92500" lnSpcReduction="10000"/>
          </a:bodyPr>
          <a:lstStyle>
            <a:lvl1pPr marL="171450" indent="-165100" algn="l" defTabSz="914400" rtl="0" eaLnBrk="1" latinLnBrk="0" hangingPunct="1">
              <a:lnSpc>
                <a:spcPct val="90000"/>
              </a:lnSpc>
              <a:spcBef>
                <a:spcPts val="180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tabLst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4813" indent="-17145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1200"/>
              </a:spcAft>
              <a:buClr>
                <a:schemeClr val="accent1"/>
              </a:buClr>
              <a:buSzPct val="110000"/>
              <a:buFont typeface="Human BBY Office" pitchFamily="2" charset="0"/>
              <a:buChar char="›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30238" indent="-17145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90000"/>
              <a:buFont typeface="Arial" charset="0"/>
              <a:buChar char="•"/>
              <a:tabLst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57250" indent="-17145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Human BBY Office" pitchFamily="2" charset="0"/>
              <a:buChar char="›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90613" indent="-17145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90000"/>
              <a:buFont typeface="Arial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6350" indent="0" algn="r">
              <a:buFont typeface="Arial" panose="020B0604020202020204" pitchFamily="34" charset="0"/>
              <a:buNone/>
            </a:pPr>
            <a:r>
              <a:rPr lang="en-US" sz="4800" b="1">
                <a:solidFill>
                  <a:schemeClr val="tx2"/>
                </a:solidFill>
              </a:rPr>
              <a:t>Time for Your Questions</a:t>
            </a:r>
          </a:p>
        </p:txBody>
      </p:sp>
      <p:sp>
        <p:nvSpPr>
          <p:cNvPr id="8" name="Slide Number Placeholder 4">
            <a:extLst>
              <a:ext uri="{FF2B5EF4-FFF2-40B4-BE49-F238E27FC236}">
                <a16:creationId xmlns:a16="http://schemas.microsoft.com/office/drawing/2014/main" id="{C903E906-9394-58D8-051F-65BF0A5A06F4}"/>
              </a:ext>
            </a:extLst>
          </p:cNvPr>
          <p:cNvSpPr txBox="1">
            <a:spLocks/>
          </p:cNvSpPr>
          <p:nvPr/>
        </p:nvSpPr>
        <p:spPr>
          <a:xfrm>
            <a:off x="11796226" y="6647867"/>
            <a:ext cx="211097" cy="150767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defPPr>
              <a:defRPr lang="en-US"/>
            </a:defPPr>
            <a:lvl1pPr marL="0" algn="r" defTabSz="914400" rtl="0" eaLnBrk="1" latinLnBrk="0" hangingPunct="1">
              <a:defRPr lang="en-US" sz="700" kern="1200" cap="all" baseline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C8C09DA5-8C43-4702-8900-F4900F7A89AE}" type="slidenum">
              <a:rPr lang="en-US" smtClean="0"/>
              <a:pPr/>
              <a:t>8</a:t>
            </a:fld>
            <a:endParaRPr lang="en-US"/>
          </a:p>
        </p:txBody>
      </p:sp>
      <p:sp>
        <p:nvSpPr>
          <p:cNvPr id="9" name="Text Placeholder 18">
            <a:extLst>
              <a:ext uri="{FF2B5EF4-FFF2-40B4-BE49-F238E27FC236}">
                <a16:creationId xmlns:a16="http://schemas.microsoft.com/office/drawing/2014/main" id="{8D579B7B-79D6-490B-8438-0569403A604F}"/>
              </a:ext>
            </a:extLst>
          </p:cNvPr>
          <p:cNvSpPr txBox="1">
            <a:spLocks/>
          </p:cNvSpPr>
          <p:nvPr/>
        </p:nvSpPr>
        <p:spPr>
          <a:xfrm>
            <a:off x="202791" y="6644501"/>
            <a:ext cx="7113587" cy="148983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defPPr>
              <a:defRPr lang="en-US"/>
            </a:defPPr>
            <a:lvl1pPr>
              <a:defRPr sz="600" cap="all" baseline="0"/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en-US" sz="700" b="1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</a:rPr>
              <a:t>BEST BUY  </a:t>
            </a:r>
            <a:r>
              <a:rPr lang="en-US" sz="70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</a:rPr>
              <a:t>INTERNAL USE ONLY. DO NOT COPY, PUBLISH OR DISTRIBUTE. THE MATERIAL IN THIS DOCUMENT IS CONFIDENTIAL TO BEST BUY.</a:t>
            </a:r>
          </a:p>
        </p:txBody>
      </p:sp>
      <p:sp>
        <p:nvSpPr>
          <p:cNvPr id="10" name="Footer Placeholder 8">
            <a:extLst>
              <a:ext uri="{FF2B5EF4-FFF2-40B4-BE49-F238E27FC236}">
                <a16:creationId xmlns:a16="http://schemas.microsoft.com/office/drawing/2014/main" id="{8448D93E-45BE-940B-160D-EC43047E830F}"/>
              </a:ext>
            </a:extLst>
          </p:cNvPr>
          <p:cNvSpPr txBox="1">
            <a:spLocks/>
          </p:cNvSpPr>
          <p:nvPr/>
        </p:nvSpPr>
        <p:spPr>
          <a:xfrm>
            <a:off x="7665720" y="6647867"/>
            <a:ext cx="3775547" cy="150767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defPPr>
              <a:defRPr lang="en-US"/>
            </a:defPPr>
            <a:lvl1pPr marL="0" algn="r" defTabSz="914400" rtl="0" eaLnBrk="1" latinLnBrk="0" hangingPunct="1">
              <a:defRPr lang="en-US" sz="700" kern="1200" cap="all" baseline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SAMPLE FOOTER TEXT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8ED04A43-C200-3D67-9A7B-C8695B9495C5}"/>
              </a:ext>
            </a:extLst>
          </p:cNvPr>
          <p:cNvCxnSpPr>
            <a:cxnSpLocks/>
          </p:cNvCxnSpPr>
          <p:nvPr/>
        </p:nvCxnSpPr>
        <p:spPr>
          <a:xfrm>
            <a:off x="202791" y="6584457"/>
            <a:ext cx="11810139" cy="0"/>
          </a:xfrm>
          <a:prstGeom prst="line">
            <a:avLst/>
          </a:prstGeom>
          <a:ln w="158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Graphic 11">
            <a:extLst>
              <a:ext uri="{FF2B5EF4-FFF2-40B4-BE49-F238E27FC236}">
                <a16:creationId xmlns:a16="http://schemas.microsoft.com/office/drawing/2014/main" id="{42A34613-A824-A500-9FF5-496822CDC437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208184" y="6199285"/>
            <a:ext cx="560538" cy="3274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1088488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B9218636-E0B4-C126-1D16-5DA04A87A64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6301519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B9218636-E0B4-C126-1D16-5DA04A87A64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65BF5C4E-476A-C35C-298D-0EFE28A796F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SHAP &amp; feature importance plot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27CC900-7BE8-61A0-D640-E38C9E517FF1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8C09DA5-8C43-4702-8900-F4900F7A89AE}" type="slidenum">
              <a:rPr lang="en-US" smtClean="0"/>
              <a:pPr/>
              <a:t>9</a:t>
            </a:fld>
            <a:endParaRPr lang="en-US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D3931858-F968-2EC8-7C19-C5769C1DD847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168303" y="2144410"/>
            <a:ext cx="6248288" cy="3210765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272BA402-706B-0CD3-F27D-F58FF0EAF7E1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156409" y="1643532"/>
            <a:ext cx="3564440" cy="42125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4502830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6cd991bf-f022-4378-96e7-2c338aeb3f5a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RIGLEFT" val="322,5"/>
  <p:tag name="ORIGTOP" val="342,625"/>
  <p:tag name="ORIGHEIGHT" val="67"/>
  <p:tag name="ORIGWIDTH" val="71"/>
  <p:tag name="NAME" val="Freeform 12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Group 5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Group 5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Group 5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RIGLEFT" val="322,5"/>
  <p:tag name="ORIGTOP" val="342,625"/>
  <p:tag name="ORIGHEIGHT" val="67"/>
  <p:tag name="ORIGWIDTH" val="71"/>
  <p:tag name="NAME" val="Freeform 12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RIGLEFT" val="322,5"/>
  <p:tag name="ORIGTOP" val="342,625"/>
  <p:tag name="ORIGHEIGHT" val="67"/>
  <p:tag name="ORIGWIDTH" val="71"/>
  <p:tag name="NAME" val="Freeform 12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RIGLEFT" val="322,5"/>
  <p:tag name="ORIGTOP" val="342,625"/>
  <p:tag name="ORIGHEIGHT" val="67"/>
  <p:tag name="ORIGWIDTH" val="71"/>
  <p:tag name="NAME" val="Freeform 12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RIGLEFT" val="322,5"/>
  <p:tag name="ORIGTOP" val="342,625"/>
  <p:tag name="ORIGHEIGHT" val="67"/>
  <p:tag name="ORIGWIDTH" val="71"/>
  <p:tag name="NAME" val="Freeform 12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RIGLEFT" val="322,5"/>
  <p:tag name="ORIGTOP" val="342,625"/>
  <p:tag name="ORIGHEIGHT" val="67"/>
  <p:tag name="ORIGWIDTH" val="71"/>
  <p:tag name="NAME" val="Freeform 12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RIGLEFT" val="322,5"/>
  <p:tag name="ORIGTOP" val="342,625"/>
  <p:tag name="ORIGHEIGHT" val="67"/>
  <p:tag name="ORIGWIDTH" val="71"/>
  <p:tag name="NAME" val="Freeform 12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RIGLEFT" val="322,5"/>
  <p:tag name="ORIGTOP" val="342,625"/>
  <p:tag name="ORIGHEIGHT" val="67"/>
  <p:tag name="ORIGWIDTH" val="71"/>
  <p:tag name="NAME" val="Freeform 12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RIGLEFT" val="322,5"/>
  <p:tag name="ORIGTOP" val="342,625"/>
  <p:tag name="ORIGHEIGHT" val="67"/>
  <p:tag name="ORIGWIDTH" val="71"/>
  <p:tag name="NAME" val="Freeform 12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RIGLEFT" val="322,5"/>
  <p:tag name="ORIGTOP" val="342,625"/>
  <p:tag name="ORIGHEIGHT" val="67"/>
  <p:tag name="ORIGWIDTH" val="71"/>
  <p:tag name="NAME" val="Freeform 12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RIGLEFT" val="322,5"/>
  <p:tag name="ORIGTOP" val="342,625"/>
  <p:tag name="ORIGHEIGHT" val="67"/>
  <p:tag name="ORIGWIDTH" val="71"/>
  <p:tag name="NAME" val="Freeform 12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RIGLEFT" val="322,5"/>
  <p:tag name="ORIGTOP" val="342,625"/>
  <p:tag name="ORIGHEIGHT" val="67"/>
  <p:tag name="ORIGWIDTH" val="71"/>
  <p:tag name="NAME" val="Freeform 12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RIGLEFT" val="322,5"/>
  <p:tag name="ORIGTOP" val="342,625"/>
  <p:tag name="ORIGHEIGHT" val="67"/>
  <p:tag name="ORIGWIDTH" val="71"/>
  <p:tag name="NAME" val="Freeform 12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RIGLEFT" val="322,5"/>
  <p:tag name="ORIGTOP" val="342,625"/>
  <p:tag name="ORIGHEIGHT" val="67"/>
  <p:tag name="ORIGWIDTH" val="71"/>
  <p:tag name="NAME" val="Freeform 12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Group 5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Group 5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RIGLEFT" val="322,5"/>
  <p:tag name="ORIGTOP" val="342,625"/>
  <p:tag name="ORIGHEIGHT" val="67"/>
  <p:tag name="ORIGWIDTH" val="71"/>
  <p:tag name="NAME" val="Freeform 12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RIGLEFT" val="322,5"/>
  <p:tag name="ORIGTOP" val="342,625"/>
  <p:tag name="ORIGHEIGHT" val="67"/>
  <p:tag name="ORIGWIDTH" val="71"/>
  <p:tag name="NAME" val="Freeform 12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Group 5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Group 5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Group 5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Group 5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Group 5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Group 5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Group 5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Group 5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Group 5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Group 5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Group 5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Group 5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RIGLEFT" val="322,5"/>
  <p:tag name="ORIGTOP" val="342,625"/>
  <p:tag name="ORIGHEIGHT" val="67"/>
  <p:tag name="ORIGWIDTH" val="71"/>
  <p:tag name="NAME" val="Freeform 12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RIGLEFT" val="322,5"/>
  <p:tag name="ORIGTOP" val="342,625"/>
  <p:tag name="ORIGHEIGHT" val="67"/>
  <p:tag name="ORIGWIDTH" val="71"/>
  <p:tag name="NAME" val="Freeform 12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Group 5"/>
</p:tagLst>
</file>

<file path=ppt/theme/theme1.xml><?xml version="1.0" encoding="utf-8"?>
<a:theme xmlns:a="http://schemas.openxmlformats.org/drawingml/2006/main" name="1_Office Theme">
  <a:themeElements>
    <a:clrScheme name="BBY Brand Template Blue">
      <a:dk1>
        <a:srgbClr val="FFFFFF"/>
      </a:dk1>
      <a:lt1>
        <a:srgbClr val="000000"/>
      </a:lt1>
      <a:dk2>
        <a:srgbClr val="D2D8E2"/>
      </a:dk2>
      <a:lt2>
        <a:srgbClr val="0046BE"/>
      </a:lt2>
      <a:accent1>
        <a:srgbClr val="FFF200"/>
      </a:accent1>
      <a:accent2>
        <a:srgbClr val="4976E6"/>
      </a:accent2>
      <a:accent3>
        <a:srgbClr val="FFCE00"/>
      </a:accent3>
      <a:accent4>
        <a:srgbClr val="001E73"/>
      </a:accent4>
      <a:accent5>
        <a:srgbClr val="E0E6EF"/>
      </a:accent5>
      <a:accent6>
        <a:srgbClr val="BB0628"/>
      </a:accent6>
      <a:hlink>
        <a:srgbClr val="1D252C"/>
      </a:hlink>
      <a:folHlink>
        <a:srgbClr val="1D252C"/>
      </a:folHlink>
    </a:clrScheme>
    <a:fontScheme name="Custom 7">
      <a:majorFont>
        <a:latin typeface="Human BBY Office"/>
        <a:ea typeface=""/>
        <a:cs typeface=""/>
      </a:majorFont>
      <a:minorFont>
        <a:latin typeface="Human BBY Office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3175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600"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BBYpowerpoint_presentationv1.pptx" id="{110878AA-913F-44B6-A8FF-38E050512EFD}" vid="{BBB3517F-CEE0-4F08-80A5-5F6F73F517EC}"/>
    </a:ext>
  </a:extLst>
</a:theme>
</file>

<file path=ppt/theme/theme2.xml><?xml version="1.0" encoding="utf-8"?>
<a:theme xmlns:a="http://schemas.openxmlformats.org/drawingml/2006/main" name="Office Theme 2013 - 2022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 2013 - 2022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E17CF49E3CA3034B905EA9EAC1BEFF5B" ma:contentTypeVersion="4" ma:contentTypeDescription="Create a new document." ma:contentTypeScope="" ma:versionID="757b53bc0f7e752bacb27c2ff807b649">
  <xsd:schema xmlns:xsd="http://www.w3.org/2001/XMLSchema" xmlns:xs="http://www.w3.org/2001/XMLSchema" xmlns:p="http://schemas.microsoft.com/office/2006/metadata/properties" xmlns:ns2="0d4e0842-4262-4d93-9217-e6082ad598f2" xmlns:ns3="3843dc87-6e8d-433b-8318-2e78ea0b348d" targetNamespace="http://schemas.microsoft.com/office/2006/metadata/properties" ma:root="true" ma:fieldsID="789199a7b830ebd0a3187887854a4b87" ns2:_="" ns3:_="">
    <xsd:import namespace="0d4e0842-4262-4d93-9217-e6082ad598f2"/>
    <xsd:import namespace="3843dc87-6e8d-433b-8318-2e78ea0b348d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d4e0842-4262-4d93-9217-e6082ad598f2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843dc87-6e8d-433b-8318-2e78ea0b348d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BDA5A25E-3D5F-4AB4-9AD7-D2A77133F1A9}">
  <ds:schemaRefs>
    <ds:schemaRef ds:uri="0d4e0842-4262-4d93-9217-e6082ad598f2"/>
    <ds:schemaRef ds:uri="3843dc87-6e8d-433b-8318-2e78ea0b348d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2.xml><?xml version="1.0" encoding="utf-8"?>
<ds:datastoreItem xmlns:ds="http://schemas.openxmlformats.org/officeDocument/2006/customXml" ds:itemID="{83388A79-4A91-4BB0-B210-99104F2DC403}">
  <ds:schemaRefs>
    <ds:schemaRef ds:uri="http://purl.org/dc/terms/"/>
    <ds:schemaRef ds:uri="http://schemas.microsoft.com/office/2006/documentManagement/types"/>
    <ds:schemaRef ds:uri="3843dc87-6e8d-433b-8318-2e78ea0b348d"/>
    <ds:schemaRef ds:uri="http://purl.org/dc/elements/1.1/"/>
    <ds:schemaRef ds:uri="0d4e0842-4262-4d93-9217-e6082ad598f2"/>
    <ds:schemaRef ds:uri="http://schemas.microsoft.com/office/2006/metadata/properties"/>
    <ds:schemaRef ds:uri="http://purl.org/dc/dcmitype/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E79C627B-B9A4-4538-9739-67EA9B353E46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952</Words>
  <Application>Microsoft Macintosh PowerPoint</Application>
  <PresentationFormat>Widescreen</PresentationFormat>
  <Paragraphs>134</Paragraphs>
  <Slides>9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9</vt:i4>
      </vt:variant>
    </vt:vector>
  </HeadingPairs>
  <TitlesOfParts>
    <vt:vector size="16" baseType="lpstr">
      <vt:lpstr>Arial</vt:lpstr>
      <vt:lpstr>Calibri</vt:lpstr>
      <vt:lpstr>Human BBY Office</vt:lpstr>
      <vt:lpstr>Klavika</vt:lpstr>
      <vt:lpstr>Wingdings</vt:lpstr>
      <vt:lpstr>1_Office Theme</vt:lpstr>
      <vt:lpstr>think-cell Slide</vt:lpstr>
      <vt:lpstr>Scarce Prophets for Best Buy Sanchita Porwal, Sri Ravi Teja Kolipakula, Suraj Shourie &amp; Paul Jordan GT MSA Project Week Final Presentation | January 20, 2022</vt:lpstr>
      <vt:lpstr>Our highly accurate machine-learning model forecasts slow-selling SKU sales</vt:lpstr>
      <vt:lpstr>The EDA offers various insights such as high spikes in sales around holidays</vt:lpstr>
      <vt:lpstr>A wide variety of features were explored for the model</vt:lpstr>
      <vt:lpstr>Rigorous methods were used to create a strong performing model</vt:lpstr>
      <vt:lpstr>Using LightGBM, our model took &lt;3 seconds and returned an RMSE of 3.39</vt:lpstr>
      <vt:lpstr>Best Buy can plug our strong model directly into their forecasting process </vt:lpstr>
      <vt:lpstr>Q&amp;A</vt:lpstr>
      <vt:lpstr>SHAP &amp; feature importance plo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carce Prophets for Best Buy Sanchita Porwal, Sri Ravi Teja Kolipakula, Suraj Shouri &amp; Paul Jordan GT MSA Project Week Final Presentation | January 20, 2022</dc:title>
  <dc:creator>Jordan, Paul</dc:creator>
  <cp:lastModifiedBy>Paul Jordan</cp:lastModifiedBy>
  <cp:revision>1</cp:revision>
  <dcterms:created xsi:type="dcterms:W3CDTF">2023-01-18T22:03:18Z</dcterms:created>
  <dcterms:modified xsi:type="dcterms:W3CDTF">2023-01-20T04:56:2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E17CF49E3CA3034B905EA9EAC1BEFF5B</vt:lpwstr>
  </property>
</Properties>
</file>